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4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6.xml" ContentType="application/vnd.openxmlformats-officedocument.presentationml.notesSlide+xml"/>
  <Override PartName="/ppt/tags/tag79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4"/>
    <p:sldMasterId id="2147483708" r:id="rId5"/>
    <p:sldMasterId id="2147483746" r:id="rId6"/>
    <p:sldMasterId id="2147483820" r:id="rId7"/>
  </p:sldMasterIdLst>
  <p:notesMasterIdLst>
    <p:notesMasterId r:id="rId27"/>
  </p:notesMasterIdLst>
  <p:sldIdLst>
    <p:sldId id="256" r:id="rId8"/>
    <p:sldId id="2147374820" r:id="rId9"/>
    <p:sldId id="2147374736" r:id="rId10"/>
    <p:sldId id="312" r:id="rId11"/>
    <p:sldId id="316" r:id="rId12"/>
    <p:sldId id="259" r:id="rId13"/>
    <p:sldId id="2147374879" r:id="rId14"/>
    <p:sldId id="2147374882" r:id="rId15"/>
    <p:sldId id="2147374891" r:id="rId16"/>
    <p:sldId id="2147374894" r:id="rId17"/>
    <p:sldId id="2147374883" r:id="rId18"/>
    <p:sldId id="2147374893" r:id="rId19"/>
    <p:sldId id="2147374889" r:id="rId20"/>
    <p:sldId id="2147374887" r:id="rId21"/>
    <p:sldId id="2147374890" r:id="rId22"/>
    <p:sldId id="7778" r:id="rId23"/>
    <p:sldId id="7724" r:id="rId24"/>
    <p:sldId id="7841" r:id="rId25"/>
    <p:sldId id="2147374778" r:id="rId26"/>
  </p:sldIdLst>
  <p:sldSz cx="9144000" cy="5145088"/>
  <p:notesSz cx="6858000" cy="9144000"/>
  <p:embeddedFontLs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Calibri Light" panose="020F0302020204030204" pitchFamily="34" charset="0"/>
      <p:regular r:id="rId32"/>
      <p:italic r:id="rId33"/>
    </p:embeddedFont>
    <p:embeddedFont>
      <p:font typeface="Delivery" panose="020B0604020202020204" charset="0"/>
      <p:regular r:id="rId34"/>
      <p:bold r:id="rId35"/>
      <p:italic r:id="rId36"/>
      <p:boldItalic r:id="rId37"/>
    </p:embeddedFont>
    <p:embeddedFont>
      <p:font typeface="Delivery" panose="020B0604020202020204" charset="0"/>
      <p:regular r:id="rId34"/>
      <p:bold r:id="rId35"/>
      <p:italic r:id="rId36"/>
      <p:boldItalic r:id="rId37"/>
    </p:embeddedFont>
    <p:embeddedFont>
      <p:font typeface="Delivery Cd Black" panose="020F0906020204020204" charset="0"/>
      <p:bold r:id="rId38"/>
    </p:embeddedFont>
    <p:embeddedFont>
      <p:font typeface="Delivery Light" panose="020B0604020202020204" charset="0"/>
      <p:regular r:id="rId39"/>
      <p:italic r:id="rId40"/>
    </p:embeddedFont>
    <p:embeddedFont>
      <p:font typeface="Trebuchet MS" panose="020B0603020202020204" pitchFamily="34" charset="0"/>
      <p:regular r:id="rId41"/>
      <p:bold r:id="rId42"/>
      <p:italic r:id="rId43"/>
      <p:boldItalic r:id="rId44"/>
    </p:embeddedFont>
    <p:embeddedFont>
      <p:font typeface="TT Norms" panose="020B0604020202020204" charset="0"/>
      <p:regular r:id="rId45"/>
      <p:bold r:id="rId46"/>
      <p:italic r:id="rId47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9B91E2F3-2E1F-4383-8EB8-D5264C82A46C}">
          <p14:sldIdLst>
            <p14:sldId id="256"/>
            <p14:sldId id="2147374820"/>
            <p14:sldId id="2147374736"/>
            <p14:sldId id="312"/>
            <p14:sldId id="316"/>
            <p14:sldId id="259"/>
            <p14:sldId id="2147374879"/>
            <p14:sldId id="2147374882"/>
            <p14:sldId id="2147374891"/>
            <p14:sldId id="2147374894"/>
            <p14:sldId id="2147374883"/>
            <p14:sldId id="2147374893"/>
            <p14:sldId id="2147374889"/>
            <p14:sldId id="2147374887"/>
            <p14:sldId id="2147374890"/>
            <p14:sldId id="7778"/>
            <p14:sldId id="7724"/>
            <p14:sldId id="7841"/>
            <p14:sldId id="2147374778"/>
          </p14:sldIdLst>
        </p14:section>
      </p14:sectionLst>
    </p:ext>
    <p:ext uri="{EFAFB233-063F-42B5-8137-9DF3F51BA10A}">
      <p15:sldGuideLst xmlns:p15="http://schemas.microsoft.com/office/powerpoint/2012/main">
        <p15:guide id="5" orient="horz" pos="2641" userDrawn="1">
          <p15:clr>
            <a:srgbClr val="A4A3A4"/>
          </p15:clr>
        </p15:guide>
        <p15:guide id="6" orient="horz" pos="1825" userDrawn="1">
          <p15:clr>
            <a:srgbClr val="A4A3A4"/>
          </p15:clr>
        </p15:guide>
        <p15:guide id="7" orient="horz" pos="668" userDrawn="1">
          <p15:clr>
            <a:srgbClr val="A4A3A4"/>
          </p15:clr>
        </p15:guide>
        <p15:guide id="8" pos="3379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D67F645-5824-62DB-CE3E-93556829C3AF}" name="Lina ZARROUR (DHL FR)" initials="LZ(F" userId="S::Lina.ZARROUR@dhl.com::90f7962c-bda0-4e89-83aa-4f166de63b96" providerId="AD"/>
  <p188:author id="{6D85305D-65B2-B66B-65CB-E2F297B47F6A}" name="EMILIA YUMUSAK (DHL FR)" initials="EY(F" userId="S::emilia.yumusak@dhl.com::8f4e2f1a-6e2d-43d5-924d-20f5e727c16b" providerId="AD"/>
  <p188:author id="{732339A1-A2C4-7019-C086-102838FC0C33}" name="Lina ZARROUR (DHL FR)" initials="LF" userId="S::lina.zarrour@dhl.com::90f7962c-bda0-4e89-83aa-4f166de63b96" providerId="AD"/>
  <p188:author id="{0DEB87C0-3888-DF4D-A040-99DF6575910D}" name="Marine Cordier (DHL FR)" initials="MF" userId="S::marine.cordier@dhl.com::766ccbed-2199-4cd0-8c4b-a8e90fc788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40511"/>
    <a:srgbClr val="DD191B"/>
    <a:srgbClr val="FF7F00"/>
    <a:srgbClr val="FDDBC7"/>
    <a:srgbClr val="EDED08"/>
    <a:srgbClr val="FFFF33"/>
    <a:srgbClr val="FFCC00"/>
    <a:srgbClr val="F0F0F0"/>
    <a:srgbClr val="FD8D3C"/>
    <a:srgbClr val="EF65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789DDB3-11EE-7BD8-94F3-19E9C58F1F12}" v="2" dt="2023-07-31T11:49:45.1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45" d="100"/>
          <a:sy n="145" d="100"/>
        </p:scale>
        <p:origin x="606" y="120"/>
      </p:cViewPr>
      <p:guideLst>
        <p:guide orient="horz" pos="2641"/>
        <p:guide orient="horz" pos="1825"/>
        <p:guide orient="horz" pos="668"/>
        <p:guide pos="33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font" Target="fonts/font12.fntdata"/><Relationship Id="rId21" Type="http://schemas.openxmlformats.org/officeDocument/2006/relationships/slide" Target="slides/slide14.xml"/><Relationship Id="rId34" Type="http://schemas.openxmlformats.org/officeDocument/2006/relationships/font" Target="fonts/font7.fntdata"/><Relationship Id="rId42" Type="http://schemas.openxmlformats.org/officeDocument/2006/relationships/font" Target="fonts/font15.fntdata"/><Relationship Id="rId47" Type="http://schemas.openxmlformats.org/officeDocument/2006/relationships/font" Target="fonts/font20.fntdata"/><Relationship Id="rId50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font" Target="fonts/font2.fntdata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font" Target="fonts/font5.fntdata"/><Relationship Id="rId37" Type="http://schemas.openxmlformats.org/officeDocument/2006/relationships/font" Target="fonts/font10.fntdata"/><Relationship Id="rId40" Type="http://schemas.openxmlformats.org/officeDocument/2006/relationships/font" Target="fonts/font13.fntdata"/><Relationship Id="rId45" Type="http://schemas.openxmlformats.org/officeDocument/2006/relationships/font" Target="fonts/font18.fntdata"/><Relationship Id="rId53" Type="http://schemas.microsoft.com/office/2018/10/relationships/authors" Target="authors.xml"/><Relationship Id="rId5" Type="http://schemas.openxmlformats.org/officeDocument/2006/relationships/slideMaster" Target="slideMasters/slideMaster2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font" Target="fonts/font4.fntdata"/><Relationship Id="rId44" Type="http://schemas.openxmlformats.org/officeDocument/2006/relationships/font" Target="fonts/font17.fntdata"/><Relationship Id="rId52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3.fntdata"/><Relationship Id="rId35" Type="http://schemas.openxmlformats.org/officeDocument/2006/relationships/font" Target="fonts/font8.fntdata"/><Relationship Id="rId43" Type="http://schemas.openxmlformats.org/officeDocument/2006/relationships/font" Target="fonts/font16.fntdata"/><Relationship Id="rId48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font" Target="fonts/font6.fntdata"/><Relationship Id="rId38" Type="http://schemas.openxmlformats.org/officeDocument/2006/relationships/font" Target="fonts/font11.fntdata"/><Relationship Id="rId46" Type="http://schemas.openxmlformats.org/officeDocument/2006/relationships/font" Target="fonts/font19.fntdata"/><Relationship Id="rId20" Type="http://schemas.openxmlformats.org/officeDocument/2006/relationships/slide" Target="slides/slide13.xml"/><Relationship Id="rId41" Type="http://schemas.openxmlformats.org/officeDocument/2006/relationships/font" Target="fonts/font1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font" Target="fonts/font1.fntdata"/><Relationship Id="rId36" Type="http://schemas.openxmlformats.org/officeDocument/2006/relationships/font" Target="fonts/font9.fntdata"/><Relationship Id="rId4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E4563C-6F68-43D4-8537-A8DDB292343C}" type="datetimeFigureOut">
              <a:rPr lang="fr-FR" smtClean="0"/>
              <a:t>05/09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DE33EF-F426-4950-BE37-E19F72E4552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614101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DE33EF-F426-4950-BE37-E19F72E45520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60329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DE33EF-F426-4950-BE37-E19F72E4552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3995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DE33EF-F426-4950-BE37-E19F72E4552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52337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DE33EF-F426-4950-BE37-E19F72E45520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7770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DE33EF-F426-4950-BE37-E19F72E45520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4531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066" marR="558800" lvl="0" indent="0" algn="l" defTabSz="914400" rtl="0" eaLnBrk="1" fontAlgn="auto" latinLnBrk="0" hangingPunct="1">
              <a:lnSpc>
                <a:spcPct val="100000"/>
              </a:lnSpc>
              <a:spcBef>
                <a:spcPts val="565"/>
              </a:spcBef>
              <a:spcAft>
                <a:spcPts val="0"/>
              </a:spcAft>
              <a:buClrTx/>
              <a:buSzPct val="108333"/>
              <a:buFont typeface="Times New Roman"/>
              <a:buNone/>
              <a:tabLst>
                <a:tab pos="139065" algn="l"/>
              </a:tabLst>
              <a:defRPr/>
            </a:pPr>
            <a:r>
              <a:rPr lang="fr-FR" sz="1200" spc="-125">
                <a:latin typeface="Trebuchet MS"/>
                <a:cs typeface="Trebuchet MS"/>
              </a:rPr>
              <a:t>Voici quelques-unes des étapes franchies jusqu’ à présent </a:t>
            </a:r>
            <a:r>
              <a:rPr lang="fr-FR" sz="1200" spc="-120">
                <a:latin typeface="Trebuchet MS"/>
                <a:cs typeface="Trebuchet MS"/>
              </a:rPr>
              <a:t>:</a:t>
            </a:r>
            <a:endParaRPr lang="fr-FR" sz="1200">
              <a:latin typeface="Trebuchet MS"/>
              <a:cs typeface="Trebuchet MS"/>
            </a:endParaRPr>
          </a:p>
          <a:p>
            <a:pPr marL="183516" marR="558800" indent="-171450">
              <a:lnSpc>
                <a:spcPct val="100000"/>
              </a:lnSpc>
              <a:spcBef>
                <a:spcPts val="565"/>
              </a:spcBef>
              <a:buSzPct val="108333"/>
              <a:buFont typeface="Arial" panose="020B0604020202020204" pitchFamily="34" charset="0"/>
              <a:buChar char="•"/>
              <a:tabLst>
                <a:tab pos="139065" algn="l"/>
              </a:tabLst>
            </a:pPr>
            <a:r>
              <a:rPr lang="fr-FR" sz="1200" spc="-65">
                <a:latin typeface="+mn-lt"/>
                <a:cs typeface="Trebuchet MS"/>
              </a:rPr>
              <a:t>En</a:t>
            </a:r>
            <a:r>
              <a:rPr lang="fr-FR" sz="1200" spc="-75">
                <a:latin typeface="+mn-lt"/>
                <a:cs typeface="Trebuchet MS"/>
              </a:rPr>
              <a:t> </a:t>
            </a:r>
            <a:r>
              <a:rPr lang="fr-FR" sz="1200" spc="-55">
                <a:latin typeface="+mn-lt"/>
                <a:cs typeface="Trebuchet MS"/>
              </a:rPr>
              <a:t>2008</a:t>
            </a:r>
            <a:r>
              <a:rPr lang="fr-FR" sz="1200" spc="-75">
                <a:latin typeface="+mn-lt"/>
                <a:cs typeface="Trebuchet MS"/>
              </a:rPr>
              <a:t> nous sommes devenus la première entreprise de logistique </a:t>
            </a:r>
            <a:r>
              <a:rPr lang="fr-FR" sz="1200" spc="-100">
                <a:latin typeface="+mn-lt"/>
                <a:cs typeface="Trebuchet MS"/>
              </a:rPr>
              <a:t>à s’engager sur un objectif clair et mesurable d’efficacité carbone</a:t>
            </a:r>
            <a:r>
              <a:rPr lang="fr-FR" sz="1200" spc="-155">
                <a:latin typeface="+mn-lt"/>
                <a:cs typeface="Trebuchet MS"/>
              </a:rPr>
              <a:t>.</a:t>
            </a:r>
          </a:p>
          <a:p>
            <a:pPr marL="183516" marR="558800" indent="-171450">
              <a:lnSpc>
                <a:spcPct val="100000"/>
              </a:lnSpc>
              <a:spcBef>
                <a:spcPts val="565"/>
              </a:spcBef>
              <a:buSzPct val="108333"/>
              <a:buFont typeface="Arial" panose="020B0604020202020204" pitchFamily="34" charset="0"/>
              <a:buChar char="•"/>
              <a:tabLst>
                <a:tab pos="139065" algn="l"/>
              </a:tabLst>
            </a:pPr>
            <a:r>
              <a:rPr lang="fr-FR" sz="1200" spc="-155">
                <a:latin typeface="+mn-lt"/>
                <a:cs typeface="Trebuchet MS"/>
              </a:rPr>
              <a:t>En  2010,  le  Groupe atteint son objectif deux ans en avance :  Nous avons </a:t>
            </a:r>
            <a:r>
              <a:rPr lang="fr-FR" sz="1200" spc="-155" err="1">
                <a:latin typeface="+mn-lt"/>
                <a:cs typeface="Trebuchet MS"/>
              </a:rPr>
              <a:t>amélrioré</a:t>
            </a:r>
            <a:r>
              <a:rPr lang="fr-FR" sz="1200" spc="-155">
                <a:latin typeface="+mn-lt"/>
                <a:cs typeface="Trebuchet MS"/>
              </a:rPr>
              <a:t> notre efficacité carbone de 10% vs le niveau de 2007,</a:t>
            </a:r>
            <a:endParaRPr lang="fr-FR" sz="1200">
              <a:latin typeface="+mn-lt"/>
              <a:cs typeface="Trebuchet MS"/>
            </a:endParaRPr>
          </a:p>
          <a:p>
            <a:pPr marL="138430" marR="5080" indent="-126364" algn="just">
              <a:lnSpc>
                <a:spcPct val="100000"/>
              </a:lnSpc>
              <a:spcBef>
                <a:spcPts val="565"/>
              </a:spcBef>
              <a:buSzPct val="108333"/>
              <a:buFont typeface="Times New Roman"/>
              <a:buChar char="•"/>
              <a:tabLst>
                <a:tab pos="139065" algn="l"/>
              </a:tabLst>
            </a:pPr>
            <a:r>
              <a:rPr lang="fr-FR" sz="1200" spc="-105">
                <a:latin typeface="+mn-lt"/>
                <a:cs typeface="Trebuchet MS"/>
              </a:rPr>
              <a:t>Depuis 2014, nos valeurs entrepreneuriales ont contribué au lancement d’une nouvelle génération de produits</a:t>
            </a:r>
            <a:r>
              <a:rPr lang="fr-FR" sz="1200" spc="-100">
                <a:latin typeface="+mn-lt"/>
                <a:cs typeface="Trebuchet MS"/>
              </a:rPr>
              <a:t> </a:t>
            </a:r>
            <a:r>
              <a:rPr lang="fr-FR" sz="1200" spc="-100" err="1">
                <a:latin typeface="+mn-lt"/>
                <a:cs typeface="Trebuchet MS"/>
              </a:rPr>
              <a:t>GoGreen</a:t>
            </a:r>
            <a:r>
              <a:rPr lang="fr-FR" sz="1200" spc="-100">
                <a:latin typeface="+mn-lt"/>
                <a:cs typeface="Trebuchet MS"/>
              </a:rPr>
              <a:t>.</a:t>
            </a:r>
            <a:r>
              <a:rPr lang="fr-FR" sz="1200" spc="-75">
                <a:latin typeface="+mn-lt"/>
                <a:cs typeface="Trebuchet MS"/>
              </a:rPr>
              <a:t> Nos valeurs sont notamment de contribuer positivement à notre société et à la protection de l’environnement dans le but d’améliorer les perfo</a:t>
            </a:r>
            <a:r>
              <a:rPr lang="fr-FR" sz="1200" spc="-110">
                <a:latin typeface="+mn-lt"/>
                <a:cs typeface="Trebuchet MS"/>
              </a:rPr>
              <a:t>rmances de l’entreprise et celles de nos clients.</a:t>
            </a:r>
          </a:p>
          <a:p>
            <a:pPr marL="138430" marR="5080" indent="-126364" algn="just">
              <a:lnSpc>
                <a:spcPct val="100000"/>
              </a:lnSpc>
              <a:spcBef>
                <a:spcPts val="565"/>
              </a:spcBef>
              <a:buSzPct val="108333"/>
              <a:buFont typeface="Times New Roman"/>
              <a:buChar char="•"/>
              <a:tabLst>
                <a:tab pos="139065" algn="l"/>
              </a:tabLst>
            </a:pPr>
            <a:r>
              <a:rPr lang="fr-FR" sz="1200" spc="-105">
                <a:latin typeface="+mn-lt"/>
                <a:cs typeface="Trebuchet MS"/>
              </a:rPr>
              <a:t>Depuis</a:t>
            </a:r>
            <a:r>
              <a:rPr lang="fr-FR" sz="1200" spc="-70">
                <a:latin typeface="+mn-lt"/>
                <a:cs typeface="Trebuchet MS"/>
              </a:rPr>
              <a:t> </a:t>
            </a:r>
            <a:r>
              <a:rPr lang="fr-FR" sz="1200" spc="-85">
                <a:latin typeface="+mn-lt"/>
                <a:cs typeface="Trebuchet MS"/>
              </a:rPr>
              <a:t>2015</a:t>
            </a:r>
            <a:r>
              <a:rPr lang="fr-FR" sz="1200" spc="-70">
                <a:latin typeface="+mn-lt"/>
                <a:cs typeface="Trebuchet MS"/>
              </a:rPr>
              <a:t> nous avons déployé un grand nombre de véhicules électriques pour l’enlèvement et la livraison premier et dernier kilomètre</a:t>
            </a:r>
            <a:r>
              <a:rPr lang="fr-FR" sz="1200" spc="-114">
                <a:latin typeface="+mn-lt"/>
                <a:cs typeface="Trebuchet MS"/>
              </a:rPr>
              <a:t>. </a:t>
            </a:r>
            <a:r>
              <a:rPr lang="fr-FR" sz="1200" spc="-110">
                <a:latin typeface="+mn-lt"/>
                <a:cs typeface="Trebuchet MS"/>
              </a:rPr>
              <a:t> </a:t>
            </a:r>
            <a:r>
              <a:rPr lang="fr-FR" sz="1200" spc="-105">
                <a:latin typeface="+mn-lt"/>
                <a:cs typeface="Trebuchet MS"/>
              </a:rPr>
              <a:t>Actuellement, nous avons plus de</a:t>
            </a:r>
            <a:r>
              <a:rPr lang="fr-FR" sz="1200" spc="-65">
                <a:latin typeface="+mn-lt"/>
                <a:cs typeface="Trebuchet MS"/>
              </a:rPr>
              <a:t> </a:t>
            </a:r>
            <a:r>
              <a:rPr lang="fr-FR" sz="1200" spc="-80">
                <a:latin typeface="+mn-lt"/>
                <a:cs typeface="Trebuchet MS"/>
              </a:rPr>
              <a:t>2,500</a:t>
            </a:r>
            <a:r>
              <a:rPr lang="fr-FR" sz="1200" spc="-70">
                <a:latin typeface="+mn-lt"/>
                <a:cs typeface="Trebuchet MS"/>
              </a:rPr>
              <a:t> </a:t>
            </a:r>
            <a:r>
              <a:rPr lang="fr-FR" sz="1200" spc="-105" err="1">
                <a:latin typeface="+mn-lt"/>
                <a:cs typeface="Trebuchet MS"/>
              </a:rPr>
              <a:t>StreetScooters</a:t>
            </a:r>
            <a:r>
              <a:rPr lang="fr-FR" sz="1200" spc="-65">
                <a:latin typeface="+mn-lt"/>
                <a:cs typeface="Trebuchet MS"/>
              </a:rPr>
              <a:t> </a:t>
            </a:r>
            <a:r>
              <a:rPr lang="fr-FR" sz="1200" spc="-105">
                <a:latin typeface="+mn-lt"/>
                <a:cs typeface="Trebuchet MS"/>
              </a:rPr>
              <a:t>en service à cet effet et ce chiffre est amené à augmenter rapidement dans l’année à venir</a:t>
            </a:r>
            <a:r>
              <a:rPr lang="fr-FR" sz="1200" spc="-130">
                <a:latin typeface="+mn-lt"/>
                <a:cs typeface="Trebuchet MS"/>
              </a:rPr>
              <a:t>.</a:t>
            </a:r>
            <a:r>
              <a:rPr lang="fr-FR" sz="1200" spc="-70">
                <a:latin typeface="+mn-lt"/>
                <a:cs typeface="Trebuchet MS"/>
              </a:rPr>
              <a:t> Nous commercialisons déjà le </a:t>
            </a:r>
            <a:r>
              <a:rPr lang="fr-FR" sz="1200" spc="-114" err="1">
                <a:latin typeface="+mn-lt"/>
                <a:cs typeface="Trebuchet MS"/>
              </a:rPr>
              <a:t>StreetScooter</a:t>
            </a:r>
            <a:r>
              <a:rPr lang="fr-FR" sz="1200" spc="-114">
                <a:latin typeface="+mn-lt"/>
                <a:cs typeface="Trebuchet MS"/>
              </a:rPr>
              <a:t>,</a:t>
            </a:r>
            <a:r>
              <a:rPr lang="fr-FR" sz="1200" spc="-75">
                <a:latin typeface="+mn-lt"/>
                <a:cs typeface="Trebuchet MS"/>
              </a:rPr>
              <a:t> qui est développé et produit par le </a:t>
            </a:r>
            <a:r>
              <a:rPr lang="fr-FR" sz="1200" spc="-105">
                <a:latin typeface="+mn-lt"/>
                <a:cs typeface="Trebuchet MS"/>
              </a:rPr>
              <a:t>Groupe à des tiers</a:t>
            </a:r>
            <a:r>
              <a:rPr lang="fr-FR" sz="1200" spc="-100">
                <a:latin typeface="+mn-lt"/>
                <a:cs typeface="Trebuchet MS"/>
              </a:rPr>
              <a:t>.</a:t>
            </a:r>
            <a:endParaRPr lang="fr-FR" sz="1200">
              <a:latin typeface="+mn-lt"/>
              <a:cs typeface="Trebuchet MS"/>
            </a:endParaRPr>
          </a:p>
          <a:p>
            <a:pPr marL="138430" marR="335280" indent="-126364">
              <a:lnSpc>
                <a:spcPct val="100000"/>
              </a:lnSpc>
              <a:spcBef>
                <a:spcPts val="565"/>
              </a:spcBef>
              <a:buSzPct val="108333"/>
              <a:buFont typeface="Times New Roman"/>
              <a:buChar char="•"/>
              <a:tabLst>
                <a:tab pos="139065" algn="l"/>
              </a:tabLst>
            </a:pPr>
            <a:r>
              <a:rPr lang="fr-FR" sz="1200" spc="-65">
                <a:latin typeface="+mn-lt"/>
                <a:cs typeface="Trebuchet MS"/>
              </a:rPr>
              <a:t>En</a:t>
            </a:r>
            <a:r>
              <a:rPr lang="fr-FR" sz="1200" spc="-75">
                <a:latin typeface="+mn-lt"/>
                <a:cs typeface="Trebuchet MS"/>
              </a:rPr>
              <a:t> </a:t>
            </a:r>
            <a:r>
              <a:rPr lang="fr-FR" sz="1200" spc="-85">
                <a:latin typeface="+mn-lt"/>
                <a:cs typeface="Trebuchet MS"/>
              </a:rPr>
              <a:t>2016</a:t>
            </a:r>
            <a:r>
              <a:rPr lang="fr-FR" sz="1200" spc="-70">
                <a:latin typeface="+mn-lt"/>
                <a:cs typeface="Trebuchet MS"/>
              </a:rPr>
              <a:t> nous avons atteint l’objectif d’augmenter notre efficacité carbone de  </a:t>
            </a:r>
            <a:r>
              <a:rPr lang="fr-FR" sz="1200" spc="45">
                <a:latin typeface="+mn-lt"/>
                <a:cs typeface="Trebuchet MS"/>
              </a:rPr>
              <a:t>30%</a:t>
            </a:r>
            <a:r>
              <a:rPr lang="fr-FR" sz="1200" spc="-75">
                <a:latin typeface="+mn-lt"/>
                <a:cs typeface="Trebuchet MS"/>
              </a:rPr>
              <a:t> </a:t>
            </a:r>
            <a:r>
              <a:rPr lang="fr-FR" sz="1200" spc="-105">
                <a:latin typeface="+mn-lt"/>
                <a:cs typeface="Trebuchet MS"/>
              </a:rPr>
              <a:t>par rapport au niveau de</a:t>
            </a:r>
            <a:r>
              <a:rPr lang="fr-FR" sz="1200" spc="-70">
                <a:latin typeface="+mn-lt"/>
                <a:cs typeface="Trebuchet MS"/>
              </a:rPr>
              <a:t> </a:t>
            </a:r>
            <a:r>
              <a:rPr lang="fr-FR" sz="1200" spc="-65">
                <a:latin typeface="+mn-lt"/>
                <a:cs typeface="Trebuchet MS"/>
              </a:rPr>
              <a:t>2007</a:t>
            </a:r>
            <a:r>
              <a:rPr lang="fr-FR" sz="1200" spc="-110">
                <a:latin typeface="+mn-lt"/>
                <a:cs typeface="Trebuchet MS"/>
              </a:rPr>
              <a:t>,</a:t>
            </a:r>
            <a:r>
              <a:rPr lang="fr-FR" sz="1200" spc="-75">
                <a:latin typeface="+mn-lt"/>
                <a:cs typeface="Trebuchet MS"/>
              </a:rPr>
              <a:t> </a:t>
            </a:r>
            <a:r>
              <a:rPr lang="fr-FR" sz="1200" spc="-100">
                <a:latin typeface="+mn-lt"/>
                <a:cs typeface="Trebuchet MS"/>
              </a:rPr>
              <a:t>défini en </a:t>
            </a:r>
            <a:r>
              <a:rPr lang="fr-FR" sz="1200" spc="-75">
                <a:latin typeface="+mn-lt"/>
                <a:cs typeface="Trebuchet MS"/>
              </a:rPr>
              <a:t>2008, quatre ans plus tôt que prévu</a:t>
            </a:r>
            <a:r>
              <a:rPr lang="fr-FR" sz="1200" spc="-110">
                <a:latin typeface="+mn-lt"/>
                <a:cs typeface="Trebuchet MS"/>
              </a:rPr>
              <a:t>.</a:t>
            </a:r>
            <a:endParaRPr lang="fr-FR" sz="1200">
              <a:latin typeface="+mn-lt"/>
              <a:cs typeface="Trebuchet MS"/>
            </a:endParaRPr>
          </a:p>
          <a:p>
            <a:pPr marL="138430" marR="470534" indent="-126364">
              <a:lnSpc>
                <a:spcPct val="100000"/>
              </a:lnSpc>
              <a:spcBef>
                <a:spcPts val="570"/>
              </a:spcBef>
              <a:buSzPct val="108333"/>
              <a:buFont typeface="Times New Roman"/>
              <a:buChar char="•"/>
              <a:tabLst>
                <a:tab pos="139065" algn="l"/>
              </a:tabLst>
            </a:pPr>
            <a:r>
              <a:rPr lang="fr-FR" sz="1200" spc="-110">
                <a:latin typeface="+mn-lt"/>
                <a:cs typeface="Trebuchet MS"/>
              </a:rPr>
              <a:t>En 2017, nous avons défini notre Stratégie Mission 2050 et établi nos 4 objectifs intermédiaires pour atteindre cet objectif.</a:t>
            </a:r>
          </a:p>
          <a:p>
            <a:pPr marL="138430" marR="470534" indent="-126364">
              <a:lnSpc>
                <a:spcPct val="100000"/>
              </a:lnSpc>
              <a:spcBef>
                <a:spcPts val="570"/>
              </a:spcBef>
              <a:buSzPct val="108333"/>
              <a:buFont typeface="Times New Roman"/>
              <a:buChar char="•"/>
              <a:tabLst>
                <a:tab pos="139065" algn="l"/>
              </a:tabLst>
            </a:pPr>
            <a:r>
              <a:rPr lang="fr-FR" sz="1200" spc="-110">
                <a:latin typeface="+mn-lt"/>
                <a:cs typeface="Trebuchet MS"/>
              </a:rPr>
              <a:t>Tout le monde dans l’entreprise </a:t>
            </a:r>
            <a:r>
              <a:rPr lang="fr-FR" sz="1200" spc="-155">
                <a:latin typeface="+mn-lt"/>
                <a:cs typeface="Trebuchet MS"/>
              </a:rPr>
              <a:t>,</a:t>
            </a:r>
            <a:r>
              <a:rPr lang="fr-FR" sz="1200" spc="-75">
                <a:latin typeface="+mn-lt"/>
                <a:cs typeface="Trebuchet MS"/>
              </a:rPr>
              <a:t> </a:t>
            </a:r>
            <a:r>
              <a:rPr lang="fr-FR" sz="1200" spc="-95">
                <a:latin typeface="+mn-lt"/>
                <a:cs typeface="Trebuchet MS"/>
              </a:rPr>
              <a:t>y compris vous</a:t>
            </a:r>
            <a:r>
              <a:rPr lang="fr-FR" sz="1200" spc="-155">
                <a:latin typeface="+mn-lt"/>
                <a:cs typeface="Trebuchet MS"/>
              </a:rPr>
              <a:t>,</a:t>
            </a:r>
            <a:r>
              <a:rPr lang="fr-FR" sz="1200" spc="-75">
                <a:latin typeface="+mn-lt"/>
                <a:cs typeface="Trebuchet MS"/>
              </a:rPr>
              <a:t> a </a:t>
            </a:r>
            <a:r>
              <a:rPr lang="fr-FR" sz="1200" spc="-140">
                <a:latin typeface="+mn-lt"/>
                <a:cs typeface="Trebuchet MS"/>
              </a:rPr>
              <a:t>c</a:t>
            </a:r>
            <a:r>
              <a:rPr lang="fr-FR" sz="1200" spc="-75">
                <a:latin typeface="+mn-lt"/>
                <a:cs typeface="Trebuchet MS"/>
              </a:rPr>
              <a:t>o</a:t>
            </a:r>
            <a:r>
              <a:rPr lang="fr-FR" sz="1200" spc="-90">
                <a:latin typeface="+mn-lt"/>
                <a:cs typeface="Trebuchet MS"/>
              </a:rPr>
              <a:t>n</a:t>
            </a:r>
            <a:r>
              <a:rPr lang="fr-FR" sz="1200" spc="-125">
                <a:latin typeface="+mn-lt"/>
                <a:cs typeface="Trebuchet MS"/>
              </a:rPr>
              <a:t>t</a:t>
            </a:r>
            <a:r>
              <a:rPr lang="fr-FR" sz="1200" spc="-120">
                <a:latin typeface="+mn-lt"/>
                <a:cs typeface="Trebuchet MS"/>
              </a:rPr>
              <a:t>r</a:t>
            </a:r>
            <a:r>
              <a:rPr lang="fr-FR" sz="1200" spc="-90">
                <a:latin typeface="+mn-lt"/>
                <a:cs typeface="Trebuchet MS"/>
              </a:rPr>
              <a:t>i</a:t>
            </a:r>
            <a:r>
              <a:rPr lang="fr-FR" sz="1200" spc="-100">
                <a:latin typeface="+mn-lt"/>
                <a:cs typeface="Trebuchet MS"/>
              </a:rPr>
              <a:t>b</a:t>
            </a:r>
            <a:r>
              <a:rPr lang="fr-FR" sz="1200" spc="-85">
                <a:latin typeface="+mn-lt"/>
                <a:cs typeface="Trebuchet MS"/>
              </a:rPr>
              <a:t>u</a:t>
            </a:r>
            <a:r>
              <a:rPr lang="fr-FR" sz="1200" spc="-125">
                <a:latin typeface="+mn-lt"/>
                <a:cs typeface="Trebuchet MS"/>
              </a:rPr>
              <a:t>é à l’atteinte de cet objectif</a:t>
            </a:r>
            <a:r>
              <a:rPr lang="fr-FR" sz="1200" spc="-155">
                <a:latin typeface="+mn-lt"/>
                <a:cs typeface="Trebuchet MS"/>
              </a:rPr>
              <a:t>.</a:t>
            </a:r>
            <a:r>
              <a:rPr lang="fr-FR" sz="1200" spc="-75">
                <a:latin typeface="+mn-lt"/>
                <a:cs typeface="Trebuchet MS"/>
              </a:rPr>
              <a:t> Nous pouvons en être fier</a:t>
            </a:r>
            <a:r>
              <a:rPr lang="fr-FR" sz="1200" spc="-155">
                <a:latin typeface="+mn-lt"/>
                <a:cs typeface="Trebuchet MS"/>
              </a:rPr>
              <a:t>.</a:t>
            </a:r>
            <a:endParaRPr lang="fr-FR" sz="1200">
              <a:latin typeface="+mn-lt"/>
              <a:cs typeface="Trebuchet M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753AD6-CEF2-4FD5-AABC-FCC5FC528AD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308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/>
              <a:t>Les objectif générales</a:t>
            </a:r>
            <a:endParaRPr lang="aa-E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8D41BB-A548-4095-B1A5-4E114A903B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63513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em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em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63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64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65.bin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3.svg"/><Relationship Id="rId18" Type="http://schemas.openxmlformats.org/officeDocument/2006/relationships/image" Target="../media/image27.png"/><Relationship Id="rId26" Type="http://schemas.openxmlformats.org/officeDocument/2006/relationships/image" Target="../media/image35.png"/><Relationship Id="rId39" Type="http://schemas.openxmlformats.org/officeDocument/2006/relationships/image" Target="../media/image48.svg"/><Relationship Id="rId21" Type="http://schemas.openxmlformats.org/officeDocument/2006/relationships/image" Target="../media/image30.svg"/><Relationship Id="rId34" Type="http://schemas.openxmlformats.org/officeDocument/2006/relationships/image" Target="../media/image43.png"/><Relationship Id="rId42" Type="http://schemas.openxmlformats.org/officeDocument/2006/relationships/image" Target="../media/image51.png"/><Relationship Id="rId47" Type="http://schemas.openxmlformats.org/officeDocument/2006/relationships/image" Target="../media/image56.svg"/><Relationship Id="rId50" Type="http://schemas.openxmlformats.org/officeDocument/2006/relationships/image" Target="../media/image59.png"/><Relationship Id="rId55" Type="http://schemas.openxmlformats.org/officeDocument/2006/relationships/image" Target="../media/image64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6" Type="http://schemas.openxmlformats.org/officeDocument/2006/relationships/image" Target="../media/image25.png"/><Relationship Id="rId29" Type="http://schemas.openxmlformats.org/officeDocument/2006/relationships/image" Target="../media/image38.svg"/><Relationship Id="rId11" Type="http://schemas.openxmlformats.org/officeDocument/2006/relationships/image" Target="../media/image21.svg"/><Relationship Id="rId24" Type="http://schemas.openxmlformats.org/officeDocument/2006/relationships/image" Target="../media/image33.png"/><Relationship Id="rId32" Type="http://schemas.openxmlformats.org/officeDocument/2006/relationships/image" Target="../media/image41.png"/><Relationship Id="rId37" Type="http://schemas.openxmlformats.org/officeDocument/2006/relationships/image" Target="../media/image46.svg"/><Relationship Id="rId40" Type="http://schemas.openxmlformats.org/officeDocument/2006/relationships/image" Target="../media/image49.png"/><Relationship Id="rId45" Type="http://schemas.openxmlformats.org/officeDocument/2006/relationships/image" Target="../media/image54.svg"/><Relationship Id="rId53" Type="http://schemas.openxmlformats.org/officeDocument/2006/relationships/image" Target="../media/image62.svg"/><Relationship Id="rId58" Type="http://schemas.openxmlformats.org/officeDocument/2006/relationships/image" Target="../media/image67.png"/><Relationship Id="rId5" Type="http://schemas.openxmlformats.org/officeDocument/2006/relationships/image" Target="../media/image15.svg"/><Relationship Id="rId19" Type="http://schemas.openxmlformats.org/officeDocument/2006/relationships/image" Target="../media/image28.svg"/><Relationship Id="rId4" Type="http://schemas.openxmlformats.org/officeDocument/2006/relationships/image" Target="../media/image14.png"/><Relationship Id="rId9" Type="http://schemas.openxmlformats.org/officeDocument/2006/relationships/image" Target="../media/image19.svg"/><Relationship Id="rId14" Type="http://schemas.openxmlformats.org/officeDocument/2006/relationships/image" Target="../media/image6.png"/><Relationship Id="rId22" Type="http://schemas.openxmlformats.org/officeDocument/2006/relationships/image" Target="../media/image31.png"/><Relationship Id="rId27" Type="http://schemas.openxmlformats.org/officeDocument/2006/relationships/image" Target="../media/image36.svg"/><Relationship Id="rId30" Type="http://schemas.openxmlformats.org/officeDocument/2006/relationships/image" Target="../media/image39.png"/><Relationship Id="rId35" Type="http://schemas.openxmlformats.org/officeDocument/2006/relationships/image" Target="../media/image44.svg"/><Relationship Id="rId43" Type="http://schemas.openxmlformats.org/officeDocument/2006/relationships/image" Target="../media/image52.svg"/><Relationship Id="rId48" Type="http://schemas.openxmlformats.org/officeDocument/2006/relationships/image" Target="../media/image57.png"/><Relationship Id="rId56" Type="http://schemas.openxmlformats.org/officeDocument/2006/relationships/image" Target="../media/image65.png"/><Relationship Id="rId8" Type="http://schemas.openxmlformats.org/officeDocument/2006/relationships/image" Target="../media/image18.png"/><Relationship Id="rId51" Type="http://schemas.openxmlformats.org/officeDocument/2006/relationships/image" Target="../media/image60.svg"/><Relationship Id="rId3" Type="http://schemas.openxmlformats.org/officeDocument/2006/relationships/image" Target="../media/image13.svg"/><Relationship Id="rId12" Type="http://schemas.openxmlformats.org/officeDocument/2006/relationships/image" Target="../media/image22.png"/><Relationship Id="rId17" Type="http://schemas.openxmlformats.org/officeDocument/2006/relationships/image" Target="../media/image26.svg"/><Relationship Id="rId25" Type="http://schemas.openxmlformats.org/officeDocument/2006/relationships/image" Target="../media/image34.svg"/><Relationship Id="rId33" Type="http://schemas.openxmlformats.org/officeDocument/2006/relationships/image" Target="../media/image42.svg"/><Relationship Id="rId38" Type="http://schemas.openxmlformats.org/officeDocument/2006/relationships/image" Target="../media/image47.png"/><Relationship Id="rId46" Type="http://schemas.openxmlformats.org/officeDocument/2006/relationships/image" Target="../media/image55.png"/><Relationship Id="rId59" Type="http://schemas.openxmlformats.org/officeDocument/2006/relationships/image" Target="../media/image68.svg"/><Relationship Id="rId20" Type="http://schemas.openxmlformats.org/officeDocument/2006/relationships/image" Target="../media/image29.png"/><Relationship Id="rId41" Type="http://schemas.openxmlformats.org/officeDocument/2006/relationships/image" Target="../media/image50.svg"/><Relationship Id="rId54" Type="http://schemas.openxmlformats.org/officeDocument/2006/relationships/image" Target="../media/image6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15" Type="http://schemas.openxmlformats.org/officeDocument/2006/relationships/image" Target="../media/image24.svg"/><Relationship Id="rId23" Type="http://schemas.openxmlformats.org/officeDocument/2006/relationships/image" Target="../media/image32.svg"/><Relationship Id="rId28" Type="http://schemas.openxmlformats.org/officeDocument/2006/relationships/image" Target="../media/image37.png"/><Relationship Id="rId36" Type="http://schemas.openxmlformats.org/officeDocument/2006/relationships/image" Target="../media/image45.png"/><Relationship Id="rId49" Type="http://schemas.openxmlformats.org/officeDocument/2006/relationships/image" Target="../media/image58.svg"/><Relationship Id="rId57" Type="http://schemas.openxmlformats.org/officeDocument/2006/relationships/image" Target="../media/image66.svg"/><Relationship Id="rId10" Type="http://schemas.openxmlformats.org/officeDocument/2006/relationships/image" Target="../media/image20.png"/><Relationship Id="rId31" Type="http://schemas.openxmlformats.org/officeDocument/2006/relationships/image" Target="../media/image40.svg"/><Relationship Id="rId44" Type="http://schemas.openxmlformats.org/officeDocument/2006/relationships/image" Target="../media/image53.png"/><Relationship Id="rId52" Type="http://schemas.openxmlformats.org/officeDocument/2006/relationships/image" Target="../media/image61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7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7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73.emf"/><Relationship Id="rId4" Type="http://schemas.openxmlformats.org/officeDocument/2006/relationships/image" Target="../media/image7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73.emf"/><Relationship Id="rId4" Type="http://schemas.openxmlformats.org/officeDocument/2006/relationships/image" Target="../media/image7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73.emf"/><Relationship Id="rId4" Type="http://schemas.openxmlformats.org/officeDocument/2006/relationships/image" Target="../media/image7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7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7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7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7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73.emf"/><Relationship Id="rId4" Type="http://schemas.openxmlformats.org/officeDocument/2006/relationships/image" Target="../media/image7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73.emf"/><Relationship Id="rId4" Type="http://schemas.openxmlformats.org/officeDocument/2006/relationships/image" Target="../media/image7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73.emf"/><Relationship Id="rId4" Type="http://schemas.openxmlformats.org/officeDocument/2006/relationships/image" Target="../media/image7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7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7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7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7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7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71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7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26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27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28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7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7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7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7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7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71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7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70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7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4" Type="http://schemas.openxmlformats.org/officeDocument/2006/relationships/image" Target="../media/image7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5" Type="http://schemas.openxmlformats.org/officeDocument/2006/relationships/image" Target="../media/image73.emf"/><Relationship Id="rId4" Type="http://schemas.openxmlformats.org/officeDocument/2006/relationships/image" Target="../media/image7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5" Type="http://schemas.openxmlformats.org/officeDocument/2006/relationships/image" Target="../media/image73.emf"/><Relationship Id="rId4" Type="http://schemas.openxmlformats.org/officeDocument/2006/relationships/image" Target="../media/image7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5" Type="http://schemas.openxmlformats.org/officeDocument/2006/relationships/image" Target="../media/image73.emf"/><Relationship Id="rId4" Type="http://schemas.openxmlformats.org/officeDocument/2006/relationships/image" Target="../media/image7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7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7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4" Type="http://schemas.openxmlformats.org/officeDocument/2006/relationships/image" Target="../media/image7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4" Type="http://schemas.openxmlformats.org/officeDocument/2006/relationships/image" Target="../media/image7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7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4" Type="http://schemas.openxmlformats.org/officeDocument/2006/relationships/image" Target="../media/image7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4" Type="http://schemas.openxmlformats.org/officeDocument/2006/relationships/image" Target="../media/image7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5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5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54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55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4" Type="http://schemas.openxmlformats.org/officeDocument/2006/relationships/image" Target="../media/image7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4" Type="http://schemas.openxmlformats.org/officeDocument/2006/relationships/image" Target="../media/image7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4" Type="http://schemas.openxmlformats.org/officeDocument/2006/relationships/image" Target="../media/image7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4" Type="http://schemas.openxmlformats.org/officeDocument/2006/relationships/image" Target="../media/image7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4" Type="http://schemas.openxmlformats.org/officeDocument/2006/relationships/image" Target="../media/image7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Relationship Id="rId4" Type="http://schemas.openxmlformats.org/officeDocument/2006/relationships/image" Target="../media/image7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4" Type="http://schemas.openxmlformats.org/officeDocument/2006/relationships/image" Target="../media/image70.emf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emf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em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e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COUV">
    <p:bg>
      <p:bgPr>
        <a:solidFill>
          <a:srgbClr val="D4072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5FB97405-6EC9-47B8-8B36-325D645678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589" b="3785"/>
          <a:stretch/>
        </p:blipFill>
        <p:spPr>
          <a:xfrm>
            <a:off x="0" y="-648"/>
            <a:ext cx="9144000" cy="270417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6EEBCCE-3447-4BF0-B95C-B34879E533C5}"/>
              </a:ext>
            </a:extLst>
          </p:cNvPr>
          <p:cNvSpPr/>
          <p:nvPr userDrawn="1"/>
        </p:nvSpPr>
        <p:spPr>
          <a:xfrm>
            <a:off x="0" y="2704171"/>
            <a:ext cx="9144000" cy="2440917"/>
          </a:xfrm>
          <a:prstGeom prst="rect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F97E5D4-C8BA-4C82-ACB2-671028D61D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6149" y="1992583"/>
            <a:ext cx="7183438" cy="8506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5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6" name="Espace réservé du texte 9">
            <a:extLst>
              <a:ext uri="{FF2B5EF4-FFF2-40B4-BE49-F238E27FC236}">
                <a16:creationId xmlns:a16="http://schemas.microsoft.com/office/drawing/2014/main" id="{A24937AB-E5AF-42CB-AEC1-E2A0F6DD14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6149" y="2704171"/>
            <a:ext cx="7183438" cy="8506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pic>
        <p:nvPicPr>
          <p:cNvPr id="5" name="Image 4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947E65E5-F57F-4F02-B9EA-1FA8B17BF3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397" y="4463238"/>
            <a:ext cx="1527051" cy="313945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41B4B83F-92E7-4CB0-8B01-F56DB7D8EFFE}"/>
              </a:ext>
            </a:extLst>
          </p:cNvPr>
          <p:cNvCxnSpPr/>
          <p:nvPr userDrawn="1"/>
        </p:nvCxnSpPr>
        <p:spPr>
          <a:xfrm>
            <a:off x="3296369" y="4765031"/>
            <a:ext cx="4636800" cy="0"/>
          </a:xfrm>
          <a:prstGeom prst="line">
            <a:avLst/>
          </a:prstGeom>
          <a:ln w="12700">
            <a:solidFill>
              <a:srgbClr val="FFC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87D1B3DA-B61C-4F71-A27C-E9AE7F8501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08408" y="4308623"/>
            <a:ext cx="1930400" cy="552450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ts val="1500"/>
              </a:lnSpc>
              <a:spcBef>
                <a:spcPts val="0"/>
              </a:spcBef>
              <a:buNone/>
              <a:defRPr sz="13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DATE</a:t>
            </a:r>
          </a:p>
          <a:p>
            <a:pPr lvl="0"/>
            <a:r>
              <a:rPr lang="fr-FR"/>
              <a:t>NOM DE LA SOCIÉTÉ</a:t>
            </a:r>
          </a:p>
        </p:txBody>
      </p:sp>
      <p:pic>
        <p:nvPicPr>
          <p:cNvPr id="19" name="Graphique 18">
            <a:extLst>
              <a:ext uri="{FF2B5EF4-FFF2-40B4-BE49-F238E27FC236}">
                <a16:creationId xmlns:a16="http://schemas.microsoft.com/office/drawing/2014/main" id="{080CB5EC-127A-4C0A-9E46-3AF62C293B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248031" y="3484333"/>
            <a:ext cx="694737" cy="720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3586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ICONES-TEXTE-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AA85A5F-CE50-4CCF-92A0-1748C97E9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id="{0972994B-AAEF-4AE9-B506-C646AEDA9C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4FFA4F65-B559-4D8E-B1C6-A7479E4727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89356" y="0"/>
            <a:ext cx="4354643" cy="5145088"/>
          </a:xfrm>
          <a:prstGeom prst="rect">
            <a:avLst/>
          </a:prstGeom>
        </p:spPr>
        <p:txBody>
          <a:bodyPr anchor="ctr" anchorCtr="1"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3E8ECE5-5329-4A37-A3A7-CED12D6853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0037" y="1239651"/>
            <a:ext cx="4360713" cy="6108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8F529686-E21C-43CD-A563-B5987575F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3883" y="1823185"/>
            <a:ext cx="4366867" cy="74856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buNone/>
              <a:defRPr sz="1000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5" name="Espace réservé du texte 12">
            <a:extLst>
              <a:ext uri="{FF2B5EF4-FFF2-40B4-BE49-F238E27FC236}">
                <a16:creationId xmlns:a16="http://schemas.microsoft.com/office/drawing/2014/main" id="{69A7FB59-B06A-489E-9361-361EF1865E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2771" y="2605619"/>
            <a:ext cx="4059971" cy="4328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buNone/>
              <a:defRPr sz="1000" b="1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6" name="Espace réservé du texte 12">
            <a:extLst>
              <a:ext uri="{FF2B5EF4-FFF2-40B4-BE49-F238E27FC236}">
                <a16:creationId xmlns:a16="http://schemas.microsoft.com/office/drawing/2014/main" id="{A2E3B1B4-8EFF-46C0-8A6F-31DA4C4A35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771" y="3084028"/>
            <a:ext cx="4059971" cy="4328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buNone/>
              <a:defRPr sz="1000" b="1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7" name="Espace réservé du texte 12">
            <a:extLst>
              <a:ext uri="{FF2B5EF4-FFF2-40B4-BE49-F238E27FC236}">
                <a16:creationId xmlns:a16="http://schemas.microsoft.com/office/drawing/2014/main" id="{0C9EEB4F-706E-461B-8341-61B644EEC0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2771" y="3515486"/>
            <a:ext cx="4059971" cy="43287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buNone/>
              <a:defRPr sz="1000" b="1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8" name="Espace réservé du texte 31">
            <a:extLst>
              <a:ext uri="{FF2B5EF4-FFF2-40B4-BE49-F238E27FC236}">
                <a16:creationId xmlns:a16="http://schemas.microsoft.com/office/drawing/2014/main" id="{1A55B7F5-D8A7-404C-8FBD-1611214058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442" y="3880242"/>
            <a:ext cx="4364308" cy="67300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475D1E6-D09C-4910-B00B-60C6458417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3678973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9589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2699"/>
            <a:ext cx="8658000" cy="543745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4164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42313"/>
            <a:ext cx="8495999" cy="1499336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6675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9992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4747"/>
            <a:ext cx="1493044" cy="226288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211327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9589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9589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2699"/>
            <a:ext cx="8658000" cy="543745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4164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42313"/>
            <a:ext cx="8495999" cy="1499336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6675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9992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4747"/>
            <a:ext cx="1493044" cy="226288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14963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01860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519273"/>
            <a:ext cx="8495999" cy="1499336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76034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59821"/>
            <a:ext cx="4644723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60485"/>
            <a:ext cx="4644723" cy="1499336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7" y="0"/>
            <a:ext cx="3851275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11646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1" y="1151293"/>
            <a:ext cx="2722563" cy="353169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1293"/>
            <a:ext cx="2722564" cy="353169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76239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1" y="1151293"/>
            <a:ext cx="8495999" cy="352908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  <a:r>
              <a:rPr lang="en-US" sz="12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746"/>
            <a:ext cx="4572000" cy="369446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18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347996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83566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165450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1293"/>
            <a:ext cx="4165450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4769211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165450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1293"/>
            <a:ext cx="4165450" cy="353169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480248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5088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385282"/>
            <a:ext cx="4644725" cy="494103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4886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HL-ICONES-TEXTE-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AA85A5F-CE50-4CCF-92A0-1748C97E9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id="{0972994B-AAEF-4AE9-B506-C646AEDA9C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4366867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4FFA4F65-B559-4D8E-B1C6-A7479E4727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789356" y="0"/>
            <a:ext cx="4354643" cy="5145088"/>
          </a:xfrm>
          <a:prstGeom prst="rect">
            <a:avLst/>
          </a:prstGeom>
        </p:spPr>
        <p:txBody>
          <a:bodyPr anchor="ctr" anchorCtr="1"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3E8ECE5-5329-4A37-A3A7-CED12D6853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0277" y="1122426"/>
            <a:ext cx="3980473" cy="32337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8F529686-E21C-43CD-A563-B5987575F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0277" y="1455872"/>
            <a:ext cx="3980473" cy="74856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buNone/>
              <a:defRPr sz="1000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9" name="Espace réservé du texte 10">
            <a:extLst>
              <a:ext uri="{FF2B5EF4-FFF2-40B4-BE49-F238E27FC236}">
                <a16:creationId xmlns:a16="http://schemas.microsoft.com/office/drawing/2014/main" id="{6812DE60-6153-4815-AD8F-CCCC3E90EC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03" y="2333681"/>
            <a:ext cx="3980473" cy="32337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21" name="Espace réservé du texte 12">
            <a:extLst>
              <a:ext uri="{FF2B5EF4-FFF2-40B4-BE49-F238E27FC236}">
                <a16:creationId xmlns:a16="http://schemas.microsoft.com/office/drawing/2014/main" id="{5905D3D9-F425-4293-A5AC-97FD1C343B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46203" y="2667127"/>
            <a:ext cx="3980473" cy="74856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buNone/>
              <a:defRPr sz="1000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:a16="http://schemas.microsoft.com/office/drawing/2014/main" id="{294F2DFA-E1AE-464E-9CD3-839E00C9656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307" y="4338736"/>
            <a:ext cx="4270369" cy="22463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buNone/>
              <a:defRPr sz="1000" b="1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8E0E7F1-B6F8-4180-87CF-51E1733C45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4053907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5088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385282"/>
            <a:ext cx="4644725" cy="494103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84790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5088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385282"/>
            <a:ext cx="4644725" cy="494103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367054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1293"/>
            <a:ext cx="4165450" cy="353169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1293"/>
            <a:ext cx="4165450" cy="353169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55267017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1" y="1151293"/>
            <a:ext cx="8495999" cy="352908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5661076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1" y="1151293"/>
            <a:ext cx="8495999" cy="35290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39947459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5088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16565334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8" y="1963802"/>
            <a:ext cx="5233987" cy="897895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18143579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4" y="1485637"/>
            <a:ext cx="3134163" cy="554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954916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TEXTE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DB63477F-F021-4F87-B394-AED8B44FB9F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2669103"/>
            <a:ext cx="9144000" cy="2475985"/>
          </a:xfrm>
          <a:prstGeom prst="rect">
            <a:avLst/>
          </a:prstGeom>
        </p:spPr>
        <p:txBody>
          <a:bodyPr anchor="ctr" anchorCtr="1"/>
          <a:lstStyle/>
          <a:p>
            <a:endParaRPr lang="fr-FR"/>
          </a:p>
        </p:txBody>
      </p:sp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10" name="Espace réservé du texte 31">
            <a:extLst>
              <a:ext uri="{FF2B5EF4-FFF2-40B4-BE49-F238E27FC236}">
                <a16:creationId xmlns:a16="http://schemas.microsoft.com/office/drawing/2014/main" id="{C44FCC90-991E-4DC5-BD98-AE5F7BFB8A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8380" y="1247261"/>
            <a:ext cx="8373819" cy="12287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4</a:t>
            </a:r>
          </a:p>
          <a:p>
            <a:pPr lvl="1"/>
            <a:r>
              <a:rPr lang="fr-FR"/>
              <a:t>Texte 4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D20A39F-8B1F-4F64-AB60-5E2D74201D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838843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TEXTE-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DB63477F-F021-4F87-B394-AED8B44FB9F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2669103"/>
            <a:ext cx="9144000" cy="2475985"/>
          </a:xfrm>
          <a:prstGeom prst="rect">
            <a:avLst/>
          </a:prstGeom>
        </p:spPr>
        <p:txBody>
          <a:bodyPr anchor="ctr" anchorCtr="1"/>
          <a:lstStyle/>
          <a:p>
            <a:endParaRPr lang="fr-FR"/>
          </a:p>
        </p:txBody>
      </p:sp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10" name="Espace réservé du texte 31">
            <a:extLst>
              <a:ext uri="{FF2B5EF4-FFF2-40B4-BE49-F238E27FC236}">
                <a16:creationId xmlns:a16="http://schemas.microsoft.com/office/drawing/2014/main" id="{C44FCC90-991E-4DC5-BD98-AE5F7BFB8A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8380" y="1247261"/>
            <a:ext cx="8373819" cy="12287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rgbClr val="238F39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4</a:t>
            </a:r>
          </a:p>
          <a:p>
            <a:pPr lvl="1"/>
            <a:r>
              <a:rPr lang="fr-FR"/>
              <a:t>Texte 4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FE19910-0662-4740-A538-625D691366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1435381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HL-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10" name="Espace réservé du texte 31">
            <a:extLst>
              <a:ext uri="{FF2B5EF4-FFF2-40B4-BE49-F238E27FC236}">
                <a16:creationId xmlns:a16="http://schemas.microsoft.com/office/drawing/2014/main" id="{C44FCC90-991E-4DC5-BD98-AE5F7BFB8A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8380" y="1247261"/>
            <a:ext cx="8373819" cy="12287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0874ED2-6556-4424-B4BF-4CB1CBBEDA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865944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TEXTE-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10" name="Espace réservé du texte 31">
            <a:extLst>
              <a:ext uri="{FF2B5EF4-FFF2-40B4-BE49-F238E27FC236}">
                <a16:creationId xmlns:a16="http://schemas.microsoft.com/office/drawing/2014/main" id="{C44FCC90-991E-4DC5-BD98-AE5F7BFB8A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57835" y="1553795"/>
            <a:ext cx="2088000" cy="30095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CECC2A91-4B3A-4D13-B8D0-40C2520D00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882" y="1288439"/>
            <a:ext cx="2088000" cy="60068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12" name="Espace réservé du texte 31">
            <a:extLst>
              <a:ext uri="{FF2B5EF4-FFF2-40B4-BE49-F238E27FC236}">
                <a16:creationId xmlns:a16="http://schemas.microsoft.com/office/drawing/2014/main" id="{0368469A-B149-4F40-A07E-5D97A2A77A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6388" y="1889125"/>
            <a:ext cx="2088000" cy="26742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rgbClr val="D4051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D40511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  <a:p>
            <a:pPr lvl="1"/>
            <a:r>
              <a:rPr lang="fr-FR"/>
              <a:t>Texte 2</a:t>
            </a:r>
          </a:p>
        </p:txBody>
      </p:sp>
      <p:sp>
        <p:nvSpPr>
          <p:cNvPr id="13" name="Espace réservé du texte 31">
            <a:extLst>
              <a:ext uri="{FF2B5EF4-FFF2-40B4-BE49-F238E27FC236}">
                <a16:creationId xmlns:a16="http://schemas.microsoft.com/office/drawing/2014/main" id="{938506B8-F595-4AF3-BB71-BD94CEF3F2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56923" y="1295934"/>
            <a:ext cx="2088000" cy="282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C00000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14" name="Espace réservé du texte 31">
            <a:extLst>
              <a:ext uri="{FF2B5EF4-FFF2-40B4-BE49-F238E27FC236}">
                <a16:creationId xmlns:a16="http://schemas.microsoft.com/office/drawing/2014/main" id="{FC276C6A-B6F2-4340-B3BC-DB74E3642A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63788" y="1553795"/>
            <a:ext cx="2088000" cy="10187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5" name="Espace réservé du texte 31">
            <a:extLst>
              <a:ext uri="{FF2B5EF4-FFF2-40B4-BE49-F238E27FC236}">
                <a16:creationId xmlns:a16="http://schemas.microsoft.com/office/drawing/2014/main" id="{08B1107B-7E71-47EC-AC9A-8521923BF9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62876" y="1295934"/>
            <a:ext cx="2088000" cy="282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C00000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16" name="Espace réservé du texte 31">
            <a:extLst>
              <a:ext uri="{FF2B5EF4-FFF2-40B4-BE49-F238E27FC236}">
                <a16:creationId xmlns:a16="http://schemas.microsoft.com/office/drawing/2014/main" id="{01028376-DB7E-4EC1-90BF-E1438372FE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43380" y="2976216"/>
            <a:ext cx="2088000" cy="10187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7" name="Espace réservé du texte 31">
            <a:extLst>
              <a:ext uri="{FF2B5EF4-FFF2-40B4-BE49-F238E27FC236}">
                <a16:creationId xmlns:a16="http://schemas.microsoft.com/office/drawing/2014/main" id="{F5F1592C-9B31-48E8-A3ED-D69079C6F0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42468" y="2718355"/>
            <a:ext cx="2088000" cy="282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C00000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18" name="Espace réservé du texte 22">
            <a:extLst>
              <a:ext uri="{FF2B5EF4-FFF2-40B4-BE49-F238E27FC236}">
                <a16:creationId xmlns:a16="http://schemas.microsoft.com/office/drawing/2014/main" id="{3B0CB0E1-A197-4861-911C-0C89E62949F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16162" y="1961205"/>
            <a:ext cx="1138433" cy="1090265"/>
          </a:xfrm>
          <a:prstGeom prst="rect">
            <a:avLst/>
          </a:prstGeom>
        </p:spPr>
        <p:txBody>
          <a:bodyPr anchor="ctr" anchorCtr="1"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50" b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  <a:p>
            <a:pPr lvl="0"/>
            <a:endParaRPr lang="fr-FR"/>
          </a:p>
        </p:txBody>
      </p:sp>
      <p:sp>
        <p:nvSpPr>
          <p:cNvPr id="19" name="Espace réservé du texte 31">
            <a:extLst>
              <a:ext uri="{FF2B5EF4-FFF2-40B4-BE49-F238E27FC236}">
                <a16:creationId xmlns:a16="http://schemas.microsoft.com/office/drawing/2014/main" id="{7D805936-C698-4855-A357-FA363B7D2B5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16162" y="1725963"/>
            <a:ext cx="1138433" cy="20501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2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C00000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3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9FFD6A46-2BDB-4F8D-ABCE-02654B527A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3262518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TEXTE-4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10" name="Espace réservé du texte 31">
            <a:extLst>
              <a:ext uri="{FF2B5EF4-FFF2-40B4-BE49-F238E27FC236}">
                <a16:creationId xmlns:a16="http://schemas.microsoft.com/office/drawing/2014/main" id="{C44FCC90-991E-4DC5-BD98-AE5F7BFB8A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13046" y="1288439"/>
            <a:ext cx="1979074" cy="30095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CECC2A91-4B3A-4D13-B8D0-40C2520D00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882" y="1288439"/>
            <a:ext cx="2088000" cy="60068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12" name="Espace réservé du texte 31">
            <a:extLst>
              <a:ext uri="{FF2B5EF4-FFF2-40B4-BE49-F238E27FC236}">
                <a16:creationId xmlns:a16="http://schemas.microsoft.com/office/drawing/2014/main" id="{0368469A-B149-4F40-A07E-5D97A2A77A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6388" y="1889125"/>
            <a:ext cx="2088000" cy="267424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rgbClr val="238F39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238F39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  <a:p>
            <a:pPr lvl="1"/>
            <a:r>
              <a:rPr lang="fr-FR"/>
              <a:t>Texte 2</a:t>
            </a:r>
          </a:p>
        </p:txBody>
      </p:sp>
      <p:sp>
        <p:nvSpPr>
          <p:cNvPr id="14" name="Espace réservé du texte 31">
            <a:extLst>
              <a:ext uri="{FF2B5EF4-FFF2-40B4-BE49-F238E27FC236}">
                <a16:creationId xmlns:a16="http://schemas.microsoft.com/office/drawing/2014/main" id="{FC276C6A-B6F2-4340-B3BC-DB74E3642AA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45377" y="1553795"/>
            <a:ext cx="2088000" cy="10187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5" name="Espace réservé du texte 31">
            <a:extLst>
              <a:ext uri="{FF2B5EF4-FFF2-40B4-BE49-F238E27FC236}">
                <a16:creationId xmlns:a16="http://schemas.microsoft.com/office/drawing/2014/main" id="{08B1107B-7E71-47EC-AC9A-8521923BF9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44465" y="1295934"/>
            <a:ext cx="2088000" cy="282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C00000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16" name="Espace réservé du texte 31">
            <a:extLst>
              <a:ext uri="{FF2B5EF4-FFF2-40B4-BE49-F238E27FC236}">
                <a16:creationId xmlns:a16="http://schemas.microsoft.com/office/drawing/2014/main" id="{01028376-DB7E-4EC1-90BF-E1438372FE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24969" y="2976216"/>
            <a:ext cx="2088000" cy="10187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7" name="Espace réservé du texte 31">
            <a:extLst>
              <a:ext uri="{FF2B5EF4-FFF2-40B4-BE49-F238E27FC236}">
                <a16:creationId xmlns:a16="http://schemas.microsoft.com/office/drawing/2014/main" id="{F5F1592C-9B31-48E8-A3ED-D69079C6F0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24057" y="2718355"/>
            <a:ext cx="2088000" cy="28239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C00000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20" name="Espace réservé du texte 31">
            <a:extLst>
              <a:ext uri="{FF2B5EF4-FFF2-40B4-BE49-F238E27FC236}">
                <a16:creationId xmlns:a16="http://schemas.microsoft.com/office/drawing/2014/main" id="{75FBE7F5-D26D-45BF-B907-90018AB74D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71789" y="1294032"/>
            <a:ext cx="1980000" cy="30095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D2C4AC2A-2661-4680-B4EE-3A780B469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3542668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ENCART GAUCHE-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E60BD5A-C2C2-45C2-9823-889DCD3B04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0689" y="1288440"/>
            <a:ext cx="2769136" cy="3654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10" name="Espace réservé du texte 31">
            <a:extLst>
              <a:ext uri="{FF2B5EF4-FFF2-40B4-BE49-F238E27FC236}">
                <a16:creationId xmlns:a16="http://schemas.microsoft.com/office/drawing/2014/main" id="{84E2CD2B-BC38-4C0B-8053-591B246405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0690" y="1653871"/>
            <a:ext cx="2769136" cy="10187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3" name="Espace réservé du texte 7">
            <a:extLst>
              <a:ext uri="{FF2B5EF4-FFF2-40B4-BE49-F238E27FC236}">
                <a16:creationId xmlns:a16="http://schemas.microsoft.com/office/drawing/2014/main" id="{834E7E14-FE17-4ABA-941F-32D280804CA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0689" y="2900481"/>
            <a:ext cx="2769136" cy="3654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14" name="Espace réservé du texte 31">
            <a:extLst>
              <a:ext uri="{FF2B5EF4-FFF2-40B4-BE49-F238E27FC236}">
                <a16:creationId xmlns:a16="http://schemas.microsoft.com/office/drawing/2014/main" id="{05635986-40FF-4F6C-8C8D-754B98EB906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690" y="3265912"/>
            <a:ext cx="2769136" cy="10187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C5348B74-FBAC-40CE-A613-5BF44AE516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22428" y="1288439"/>
            <a:ext cx="5189773" cy="74709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1</a:t>
            </a:r>
          </a:p>
        </p:txBody>
      </p:sp>
      <p:sp>
        <p:nvSpPr>
          <p:cNvPr id="17" name="Espace réservé du texte 31">
            <a:extLst>
              <a:ext uri="{FF2B5EF4-FFF2-40B4-BE49-F238E27FC236}">
                <a16:creationId xmlns:a16="http://schemas.microsoft.com/office/drawing/2014/main" id="{C9B016B7-4FED-4160-B3BD-B83F03DE0D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70137" y="2680095"/>
            <a:ext cx="1582307" cy="17646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9" name="Espace réservé du texte 31">
            <a:extLst>
              <a:ext uri="{FF2B5EF4-FFF2-40B4-BE49-F238E27FC236}">
                <a16:creationId xmlns:a16="http://schemas.microsoft.com/office/drawing/2014/main" id="{8ECF0FBD-2DA8-4FFB-9DE0-A519CBED01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31215" y="2680571"/>
            <a:ext cx="1584000" cy="17646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23" name="Espace réservé du texte 31">
            <a:extLst>
              <a:ext uri="{FF2B5EF4-FFF2-40B4-BE49-F238E27FC236}">
                <a16:creationId xmlns:a16="http://schemas.microsoft.com/office/drawing/2014/main" id="{3BA9A045-98A7-4FE3-A4E1-6095B57265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59105" y="2691331"/>
            <a:ext cx="1584000" cy="17646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24" name="Espace réservé du texte 31">
            <a:extLst>
              <a:ext uri="{FF2B5EF4-FFF2-40B4-BE49-F238E27FC236}">
                <a16:creationId xmlns:a16="http://schemas.microsoft.com/office/drawing/2014/main" id="{76B60A23-C5B4-4690-8CB3-9C26954F9C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47336" y="2281020"/>
            <a:ext cx="1236853" cy="2884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 u="sng">
                <a:solidFill>
                  <a:srgbClr val="D4051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C00000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25" name="Espace réservé du texte 31">
            <a:extLst>
              <a:ext uri="{FF2B5EF4-FFF2-40B4-BE49-F238E27FC236}">
                <a16:creationId xmlns:a16="http://schemas.microsoft.com/office/drawing/2014/main" id="{621C7B32-F5D1-413C-A944-98D1BB63352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6303" y="2294550"/>
            <a:ext cx="1306801" cy="2884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 u="sng">
                <a:solidFill>
                  <a:srgbClr val="D4051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C00000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26" name="Espace réservé du texte 31">
            <a:extLst>
              <a:ext uri="{FF2B5EF4-FFF2-40B4-BE49-F238E27FC236}">
                <a16:creationId xmlns:a16="http://schemas.microsoft.com/office/drawing/2014/main" id="{E7490AF5-EDD9-4C71-A5BB-C3006962B35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99037" y="2283314"/>
            <a:ext cx="1316178" cy="28843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 u="sng">
                <a:solidFill>
                  <a:srgbClr val="D4051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C00000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2AABA014-D9E0-4664-9782-79A5508A4A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1105105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E60BD5A-C2C2-45C2-9823-889DCD3B04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5571" y="1288440"/>
            <a:ext cx="2954254" cy="3654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10" name="Espace réservé du texte 31">
            <a:extLst>
              <a:ext uri="{FF2B5EF4-FFF2-40B4-BE49-F238E27FC236}">
                <a16:creationId xmlns:a16="http://schemas.microsoft.com/office/drawing/2014/main" id="{84E2CD2B-BC38-4C0B-8053-591B246405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5571" y="1653871"/>
            <a:ext cx="5236609" cy="10187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7" name="Espace réservé du texte 31">
            <a:extLst>
              <a:ext uri="{FF2B5EF4-FFF2-40B4-BE49-F238E27FC236}">
                <a16:creationId xmlns:a16="http://schemas.microsoft.com/office/drawing/2014/main" id="{C9B016B7-4FED-4160-B3BD-B83F03DE0D7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8305" y="3181077"/>
            <a:ext cx="3906815" cy="4855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27" name="Espace réservé du texte 22">
            <a:extLst>
              <a:ext uri="{FF2B5EF4-FFF2-40B4-BE49-F238E27FC236}">
                <a16:creationId xmlns:a16="http://schemas.microsoft.com/office/drawing/2014/main" id="{47884040-619E-4560-BB7A-E9F0862ADE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23558" y="2015376"/>
            <a:ext cx="2487396" cy="2269285"/>
          </a:xfrm>
          <a:prstGeom prst="rect">
            <a:avLst/>
          </a:prstGeom>
        </p:spPr>
        <p:txBody>
          <a:bodyPr anchor="ctr" anchorCtr="0"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50" b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  <a:p>
            <a:pPr lvl="0"/>
            <a:endParaRPr lang="fr-FR"/>
          </a:p>
        </p:txBody>
      </p:sp>
      <p:sp>
        <p:nvSpPr>
          <p:cNvPr id="28" name="Espace réservé du texte 31">
            <a:extLst>
              <a:ext uri="{FF2B5EF4-FFF2-40B4-BE49-F238E27FC236}">
                <a16:creationId xmlns:a16="http://schemas.microsoft.com/office/drawing/2014/main" id="{861EADDA-F6BC-473E-8AD5-95A515BE63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029824" y="1288440"/>
            <a:ext cx="2481130" cy="60068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2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30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C00000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3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56D35AD-606E-4B25-AD9A-E48DC005A4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1715447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ICONES-4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2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2" y="581717"/>
            <a:ext cx="8348319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2FC49CFE-88DD-419F-9728-0770455657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9416" y="1203083"/>
            <a:ext cx="1667406" cy="5802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11" name="Espace réservé du texte 22">
            <a:extLst>
              <a:ext uri="{FF2B5EF4-FFF2-40B4-BE49-F238E27FC236}">
                <a16:creationId xmlns:a16="http://schemas.microsoft.com/office/drawing/2014/main" id="{9ED1E8BA-99F1-4FC3-AEEE-87C2E5102D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4991" y="1901371"/>
            <a:ext cx="2024321" cy="1376631"/>
          </a:xfrm>
          <a:prstGeom prst="rect">
            <a:avLst/>
          </a:prstGeom>
        </p:spPr>
        <p:txBody>
          <a:bodyPr lIns="36000"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00" b="0">
                <a:solidFill>
                  <a:schemeClr val="tx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  <a:p>
            <a:pPr lvl="0"/>
            <a:endParaRPr lang="fr-FR"/>
          </a:p>
        </p:txBody>
      </p:sp>
      <p:sp>
        <p:nvSpPr>
          <p:cNvPr id="12" name="Espace réservé du texte 31">
            <a:extLst>
              <a:ext uri="{FF2B5EF4-FFF2-40B4-BE49-F238E27FC236}">
                <a16:creationId xmlns:a16="http://schemas.microsoft.com/office/drawing/2014/main" id="{455DC4F7-5325-4253-A14B-FA76646833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7494" y="3387420"/>
            <a:ext cx="2029327" cy="1018749"/>
          </a:xfrm>
          <a:prstGeom prst="rect">
            <a:avLst/>
          </a:prstGeom>
        </p:spPr>
        <p:txBody>
          <a:bodyPr lIns="36000"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28" name="Espace réservé du texte 7">
            <a:extLst>
              <a:ext uri="{FF2B5EF4-FFF2-40B4-BE49-F238E27FC236}">
                <a16:creationId xmlns:a16="http://schemas.microsoft.com/office/drawing/2014/main" id="{4063D55F-9E75-4617-86C4-7269BF6CA60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97529" y="1200614"/>
            <a:ext cx="1673616" cy="5802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30" name="Espace réservé du texte 22">
            <a:extLst>
              <a:ext uri="{FF2B5EF4-FFF2-40B4-BE49-F238E27FC236}">
                <a16:creationId xmlns:a16="http://schemas.microsoft.com/office/drawing/2014/main" id="{6B34CAE1-C65D-473B-BC5C-D9BCDB77FF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439314" y="1901372"/>
            <a:ext cx="2024321" cy="1376630"/>
          </a:xfrm>
          <a:prstGeom prst="rect">
            <a:avLst/>
          </a:prstGeom>
        </p:spPr>
        <p:txBody>
          <a:bodyPr lIns="36000"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00" b="0">
                <a:solidFill>
                  <a:schemeClr val="tx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  <a:p>
            <a:pPr lvl="0"/>
            <a:endParaRPr lang="fr-FR"/>
          </a:p>
        </p:txBody>
      </p:sp>
      <p:sp>
        <p:nvSpPr>
          <p:cNvPr id="31" name="Espace réservé du texte 31">
            <a:extLst>
              <a:ext uri="{FF2B5EF4-FFF2-40B4-BE49-F238E27FC236}">
                <a16:creationId xmlns:a16="http://schemas.microsoft.com/office/drawing/2014/main" id="{C2E1FB66-4C20-47C4-A1DD-469A558CADD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41817" y="3387420"/>
            <a:ext cx="2029327" cy="1018749"/>
          </a:xfrm>
          <a:prstGeom prst="rect">
            <a:avLst/>
          </a:prstGeom>
        </p:spPr>
        <p:txBody>
          <a:bodyPr lIns="36000"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33" name="Espace réservé du texte 7">
            <a:extLst>
              <a:ext uri="{FF2B5EF4-FFF2-40B4-BE49-F238E27FC236}">
                <a16:creationId xmlns:a16="http://schemas.microsoft.com/office/drawing/2014/main" id="{07FAD5C2-D01B-4A24-B19F-7C1CEBDA19A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73212" y="1194737"/>
            <a:ext cx="1697896" cy="5802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34" name="Espace réservé du texte 22">
            <a:extLst>
              <a:ext uri="{FF2B5EF4-FFF2-40B4-BE49-F238E27FC236}">
                <a16:creationId xmlns:a16="http://schemas.microsoft.com/office/drawing/2014/main" id="{70320552-3B33-4DBB-9950-DB718AE7CE7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39277" y="1901371"/>
            <a:ext cx="2024321" cy="1376629"/>
          </a:xfrm>
          <a:prstGeom prst="rect">
            <a:avLst/>
          </a:prstGeom>
        </p:spPr>
        <p:txBody>
          <a:bodyPr lIns="36000"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00" b="0">
                <a:solidFill>
                  <a:schemeClr val="tx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  <a:p>
            <a:pPr lvl="0"/>
            <a:endParaRPr lang="fr-FR"/>
          </a:p>
        </p:txBody>
      </p:sp>
      <p:sp>
        <p:nvSpPr>
          <p:cNvPr id="35" name="Espace réservé du texte 31">
            <a:extLst>
              <a:ext uri="{FF2B5EF4-FFF2-40B4-BE49-F238E27FC236}">
                <a16:creationId xmlns:a16="http://schemas.microsoft.com/office/drawing/2014/main" id="{BB72A66A-62F2-4F0A-B147-FB0A9C1AA29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41780" y="3387420"/>
            <a:ext cx="2029327" cy="1018749"/>
          </a:xfrm>
          <a:prstGeom prst="rect">
            <a:avLst/>
          </a:prstGeom>
        </p:spPr>
        <p:txBody>
          <a:bodyPr lIns="36000"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37" name="Espace réservé du texte 7">
            <a:extLst>
              <a:ext uri="{FF2B5EF4-FFF2-40B4-BE49-F238E27FC236}">
                <a16:creationId xmlns:a16="http://schemas.microsoft.com/office/drawing/2014/main" id="{D2E0AFCE-75FB-4074-9D5C-1BD710EF658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53509" y="1202383"/>
            <a:ext cx="1667407" cy="5802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38" name="Espace réservé du texte 22">
            <a:extLst>
              <a:ext uri="{FF2B5EF4-FFF2-40B4-BE49-F238E27FC236}">
                <a16:creationId xmlns:a16="http://schemas.microsoft.com/office/drawing/2014/main" id="{B38F51B4-38D1-47ED-B262-9C13BDF5390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10925" y="1901371"/>
            <a:ext cx="2024321" cy="1376627"/>
          </a:xfrm>
          <a:prstGeom prst="rect">
            <a:avLst/>
          </a:prstGeom>
        </p:spPr>
        <p:txBody>
          <a:bodyPr lIns="36000"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00" b="0">
                <a:solidFill>
                  <a:schemeClr val="tx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  <a:p>
            <a:pPr lvl="0"/>
            <a:endParaRPr lang="fr-FR"/>
          </a:p>
        </p:txBody>
      </p:sp>
      <p:sp>
        <p:nvSpPr>
          <p:cNvPr id="39" name="Espace réservé du texte 31">
            <a:extLst>
              <a:ext uri="{FF2B5EF4-FFF2-40B4-BE49-F238E27FC236}">
                <a16:creationId xmlns:a16="http://schemas.microsoft.com/office/drawing/2014/main" id="{017DB204-44BC-4D85-8817-6D19F6A6518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13428" y="3387420"/>
            <a:ext cx="2029327" cy="1018749"/>
          </a:xfrm>
          <a:prstGeom prst="rect">
            <a:avLst/>
          </a:prstGeom>
        </p:spPr>
        <p:txBody>
          <a:bodyPr lIns="36000"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DB6D9094-3AED-4AF9-894B-3B81E770EB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636396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AFAB382-23D3-45E2-BE2C-9E398A0F7FC5}"/>
              </a:ext>
            </a:extLst>
          </p:cNvPr>
          <p:cNvSpPr/>
          <p:nvPr userDrawn="1"/>
        </p:nvSpPr>
        <p:spPr>
          <a:xfrm>
            <a:off x="0" y="941294"/>
            <a:ext cx="9144000" cy="4203713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19F6C9D-3547-4FF0-B03A-BC1203B62B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1733" y="335539"/>
            <a:ext cx="3480216" cy="7011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500" b="1">
                <a:solidFill>
                  <a:srgbClr val="FFCC00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mmai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D81ADF40-E217-42A9-B97D-43E0581B07D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769" y="2024392"/>
            <a:ext cx="1620000" cy="29615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300" b="1" u="none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1</a:t>
            </a:r>
          </a:p>
        </p:txBody>
      </p:sp>
      <p:sp>
        <p:nvSpPr>
          <p:cNvPr id="18" name="Espace réservé du texte 16">
            <a:extLst>
              <a:ext uri="{FF2B5EF4-FFF2-40B4-BE49-F238E27FC236}">
                <a16:creationId xmlns:a16="http://schemas.microsoft.com/office/drawing/2014/main" id="{7407763D-6E72-4CAC-8153-2AEF016B34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46022" y="2019891"/>
            <a:ext cx="1620000" cy="29615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3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1</a:t>
            </a:r>
          </a:p>
        </p:txBody>
      </p:sp>
      <p:sp>
        <p:nvSpPr>
          <p:cNvPr id="19" name="Espace réservé du texte 16">
            <a:extLst>
              <a:ext uri="{FF2B5EF4-FFF2-40B4-BE49-F238E27FC236}">
                <a16:creationId xmlns:a16="http://schemas.microsoft.com/office/drawing/2014/main" id="{9F466CC4-D0C3-4046-BA6C-E5A80A130A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53229" y="2025170"/>
            <a:ext cx="1620000" cy="29615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3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1</a:t>
            </a:r>
          </a:p>
        </p:txBody>
      </p:sp>
      <p:sp>
        <p:nvSpPr>
          <p:cNvPr id="20" name="Espace réservé du texte 16">
            <a:extLst>
              <a:ext uri="{FF2B5EF4-FFF2-40B4-BE49-F238E27FC236}">
                <a16:creationId xmlns:a16="http://schemas.microsoft.com/office/drawing/2014/main" id="{06962582-C037-4A55-A618-B263814525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56718" y="2023293"/>
            <a:ext cx="1620000" cy="55974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3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1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7FC41957-F154-425E-93CC-233C3AAAA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752" y="2310750"/>
            <a:ext cx="1620000" cy="1561606"/>
          </a:xfrm>
          <a:prstGeom prst="rect">
            <a:avLst/>
          </a:prstGeom>
        </p:spPr>
        <p:txBody>
          <a:bodyPr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50" b="0" u="none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  <a:p>
            <a:pPr lvl="0"/>
            <a:endParaRPr lang="fr-FR"/>
          </a:p>
        </p:txBody>
      </p:sp>
      <p:sp>
        <p:nvSpPr>
          <p:cNvPr id="26" name="Espace réservé du texte 22">
            <a:extLst>
              <a:ext uri="{FF2B5EF4-FFF2-40B4-BE49-F238E27FC236}">
                <a16:creationId xmlns:a16="http://schemas.microsoft.com/office/drawing/2014/main" id="{23E1ACED-F70A-409C-8F2F-2E1F3BCACA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51766" y="2307106"/>
            <a:ext cx="1620000" cy="1561605"/>
          </a:xfrm>
          <a:prstGeom prst="rect">
            <a:avLst/>
          </a:prstGeom>
        </p:spPr>
        <p:txBody>
          <a:bodyPr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50" b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  <a:p>
            <a:pPr lvl="0"/>
            <a:endParaRPr lang="fr-FR"/>
          </a:p>
        </p:txBody>
      </p:sp>
      <p:sp>
        <p:nvSpPr>
          <p:cNvPr id="27" name="Espace réservé du texte 22">
            <a:extLst>
              <a:ext uri="{FF2B5EF4-FFF2-40B4-BE49-F238E27FC236}">
                <a16:creationId xmlns:a16="http://schemas.microsoft.com/office/drawing/2014/main" id="{6BD94B78-6796-4614-82A8-873F6BED660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3229" y="2312385"/>
            <a:ext cx="1620000" cy="1561603"/>
          </a:xfrm>
          <a:prstGeom prst="rect">
            <a:avLst/>
          </a:prstGeom>
        </p:spPr>
        <p:txBody>
          <a:bodyPr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50" b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  <a:p>
            <a:pPr lvl="0"/>
            <a:endParaRPr lang="fr-FR"/>
          </a:p>
        </p:txBody>
      </p:sp>
      <p:sp>
        <p:nvSpPr>
          <p:cNvPr id="28" name="Espace réservé du texte 22">
            <a:extLst>
              <a:ext uri="{FF2B5EF4-FFF2-40B4-BE49-F238E27FC236}">
                <a16:creationId xmlns:a16="http://schemas.microsoft.com/office/drawing/2014/main" id="{3B61ABDC-4F8D-4591-9E38-37EC4D2BDF5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56718" y="2535442"/>
            <a:ext cx="1620000" cy="1336675"/>
          </a:xfrm>
          <a:prstGeom prst="rect">
            <a:avLst/>
          </a:prstGeom>
        </p:spPr>
        <p:txBody>
          <a:bodyPr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50" b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  <a:p>
            <a:pPr lvl="0"/>
            <a:endParaRPr lang="fr-FR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BD382BF9-8142-4D28-BC77-52AE41D2E1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  <p:sp>
        <p:nvSpPr>
          <p:cNvPr id="30" name="Espace réservé du texte 16">
            <a:extLst>
              <a:ext uri="{FF2B5EF4-FFF2-40B4-BE49-F238E27FC236}">
                <a16:creationId xmlns:a16="http://schemas.microsoft.com/office/drawing/2014/main" id="{F48A23CA-5C14-48B4-9183-C12D6D916D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60207" y="2016540"/>
            <a:ext cx="1620000" cy="55974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3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1</a:t>
            </a:r>
          </a:p>
        </p:txBody>
      </p:sp>
      <p:sp>
        <p:nvSpPr>
          <p:cNvPr id="31" name="Espace réservé du texte 22">
            <a:extLst>
              <a:ext uri="{FF2B5EF4-FFF2-40B4-BE49-F238E27FC236}">
                <a16:creationId xmlns:a16="http://schemas.microsoft.com/office/drawing/2014/main" id="{7634BF31-FE14-45EE-BCA1-B896F5C1001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60207" y="2528689"/>
            <a:ext cx="1620000" cy="1336675"/>
          </a:xfrm>
          <a:prstGeom prst="rect">
            <a:avLst/>
          </a:prstGeom>
        </p:spPr>
        <p:txBody>
          <a:bodyPr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50" b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</a:t>
            </a:r>
          </a:p>
          <a:p>
            <a:pPr lvl="0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4196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  <p15:guide id="4" pos="2980" userDrawn="1">
          <p15:clr>
            <a:srgbClr val="FBAE40"/>
          </p15:clr>
        </p15:guide>
        <p15:guide id="5" pos="54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ICONES-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2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2" y="581717"/>
            <a:ext cx="8348319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2FC49CFE-88DD-419F-9728-0770455657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09416" y="1203083"/>
            <a:ext cx="1667406" cy="5802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11" name="Espace réservé du texte 22">
            <a:extLst>
              <a:ext uri="{FF2B5EF4-FFF2-40B4-BE49-F238E27FC236}">
                <a16:creationId xmlns:a16="http://schemas.microsoft.com/office/drawing/2014/main" id="{9ED1E8BA-99F1-4FC3-AEEE-87C2E5102D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5370" y="1901371"/>
            <a:ext cx="2685288" cy="1376631"/>
          </a:xfrm>
          <a:prstGeom prst="rect">
            <a:avLst/>
          </a:prstGeom>
        </p:spPr>
        <p:txBody>
          <a:bodyPr lIns="36000"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00" b="0">
                <a:solidFill>
                  <a:schemeClr val="tx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  <a:p>
            <a:pPr lvl="0"/>
            <a:endParaRPr lang="fr-FR"/>
          </a:p>
        </p:txBody>
      </p:sp>
      <p:sp>
        <p:nvSpPr>
          <p:cNvPr id="12" name="Espace réservé du texte 31">
            <a:extLst>
              <a:ext uri="{FF2B5EF4-FFF2-40B4-BE49-F238E27FC236}">
                <a16:creationId xmlns:a16="http://schemas.microsoft.com/office/drawing/2014/main" id="{455DC4F7-5325-4253-A14B-FA76646833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873" y="3387420"/>
            <a:ext cx="2682785" cy="1018749"/>
          </a:xfrm>
          <a:prstGeom prst="rect">
            <a:avLst/>
          </a:prstGeom>
        </p:spPr>
        <p:txBody>
          <a:bodyPr lIns="36000"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9" name="Espace réservé du texte 7">
            <a:extLst>
              <a:ext uri="{FF2B5EF4-FFF2-40B4-BE49-F238E27FC236}">
                <a16:creationId xmlns:a16="http://schemas.microsoft.com/office/drawing/2014/main" id="{6DFEC827-C2CE-4430-A170-C1D70B93635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91338" y="1203083"/>
            <a:ext cx="1667406" cy="5802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20" name="Espace réservé du texte 22">
            <a:extLst>
              <a:ext uri="{FF2B5EF4-FFF2-40B4-BE49-F238E27FC236}">
                <a16:creationId xmlns:a16="http://schemas.microsoft.com/office/drawing/2014/main" id="{3F90C0A2-949D-43C4-86E8-A0EF28C13C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26913" y="1901371"/>
            <a:ext cx="2685288" cy="1376631"/>
          </a:xfrm>
          <a:prstGeom prst="rect">
            <a:avLst/>
          </a:prstGeom>
        </p:spPr>
        <p:txBody>
          <a:bodyPr lIns="36000"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00" b="0">
                <a:solidFill>
                  <a:schemeClr val="tx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  <a:p>
            <a:pPr lvl="0"/>
            <a:endParaRPr lang="fr-FR"/>
          </a:p>
        </p:txBody>
      </p:sp>
      <p:sp>
        <p:nvSpPr>
          <p:cNvPr id="23" name="Espace réservé du texte 31">
            <a:extLst>
              <a:ext uri="{FF2B5EF4-FFF2-40B4-BE49-F238E27FC236}">
                <a16:creationId xmlns:a16="http://schemas.microsoft.com/office/drawing/2014/main" id="{B8E92E95-1025-46EA-B9A6-228AAD497C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29416" y="3387420"/>
            <a:ext cx="2682785" cy="1018749"/>
          </a:xfrm>
          <a:prstGeom prst="rect">
            <a:avLst/>
          </a:prstGeom>
        </p:spPr>
        <p:txBody>
          <a:bodyPr lIns="36000"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24" name="Espace réservé du texte 7">
            <a:extLst>
              <a:ext uri="{FF2B5EF4-FFF2-40B4-BE49-F238E27FC236}">
                <a16:creationId xmlns:a16="http://schemas.microsoft.com/office/drawing/2014/main" id="{94E4DAF2-FF3C-48AC-BC17-E29E5F7777C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03402" y="1206785"/>
            <a:ext cx="1667406" cy="5802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25" name="Espace réservé du texte 22">
            <a:extLst>
              <a:ext uri="{FF2B5EF4-FFF2-40B4-BE49-F238E27FC236}">
                <a16:creationId xmlns:a16="http://schemas.microsoft.com/office/drawing/2014/main" id="{89D99618-605B-4531-A120-3FB7BF5CCF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29356" y="1905073"/>
            <a:ext cx="2685288" cy="1376631"/>
          </a:xfrm>
          <a:prstGeom prst="rect">
            <a:avLst/>
          </a:prstGeom>
        </p:spPr>
        <p:txBody>
          <a:bodyPr lIns="36000"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00" b="0">
                <a:solidFill>
                  <a:schemeClr val="tx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  <a:p>
            <a:pPr lvl="0"/>
            <a:endParaRPr lang="fr-FR"/>
          </a:p>
        </p:txBody>
      </p:sp>
      <p:sp>
        <p:nvSpPr>
          <p:cNvPr id="26" name="Espace réservé du texte 31">
            <a:extLst>
              <a:ext uri="{FF2B5EF4-FFF2-40B4-BE49-F238E27FC236}">
                <a16:creationId xmlns:a16="http://schemas.microsoft.com/office/drawing/2014/main" id="{01F12768-AFF5-4048-A443-39E29554E0E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31859" y="3391122"/>
            <a:ext cx="2682785" cy="1018749"/>
          </a:xfrm>
          <a:prstGeom prst="rect">
            <a:avLst/>
          </a:prstGeom>
        </p:spPr>
        <p:txBody>
          <a:bodyPr lIns="36000"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B0EDAB1-9049-4AF1-AA90-71896A1D9C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468607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INFOGRAPH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837488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D9DD4D-F4D8-4D66-9178-B63B80499C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5571" y="1100871"/>
            <a:ext cx="5189773" cy="29808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10" name="Espace réservé du texte 31">
            <a:extLst>
              <a:ext uri="{FF2B5EF4-FFF2-40B4-BE49-F238E27FC236}">
                <a16:creationId xmlns:a16="http://schemas.microsoft.com/office/drawing/2014/main" id="{C70DFE03-C893-4FB8-A2DA-AE69067014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1445" y="1417852"/>
            <a:ext cx="8367320" cy="51241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  <a:p>
            <a:pPr lvl="1"/>
            <a:r>
              <a:rPr lang="fr-FR"/>
              <a:t>Texte 1</a:t>
            </a:r>
          </a:p>
        </p:txBody>
      </p:sp>
      <p:sp>
        <p:nvSpPr>
          <p:cNvPr id="16" name="Espace réservé du texte 31">
            <a:extLst>
              <a:ext uri="{FF2B5EF4-FFF2-40B4-BE49-F238E27FC236}">
                <a16:creationId xmlns:a16="http://schemas.microsoft.com/office/drawing/2014/main" id="{339A8370-7556-419B-A953-A2EBD826B7C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70460" y="2435997"/>
            <a:ext cx="1167938" cy="590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7" name="Espace réservé du texte 31">
            <a:extLst>
              <a:ext uri="{FF2B5EF4-FFF2-40B4-BE49-F238E27FC236}">
                <a16:creationId xmlns:a16="http://schemas.microsoft.com/office/drawing/2014/main" id="{F8E06129-9B23-4B70-BABD-75491135709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38243" y="2437198"/>
            <a:ext cx="1234333" cy="590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8" name="Espace réservé du texte 31">
            <a:extLst>
              <a:ext uri="{FF2B5EF4-FFF2-40B4-BE49-F238E27FC236}">
                <a16:creationId xmlns:a16="http://schemas.microsoft.com/office/drawing/2014/main" id="{41138B27-34C1-484B-BA2F-69A57810B10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07659" y="2441856"/>
            <a:ext cx="1234333" cy="590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 </a:t>
            </a:r>
          </a:p>
        </p:txBody>
      </p:sp>
      <p:sp>
        <p:nvSpPr>
          <p:cNvPr id="19" name="Espace réservé du texte 31">
            <a:extLst>
              <a:ext uri="{FF2B5EF4-FFF2-40B4-BE49-F238E27FC236}">
                <a16:creationId xmlns:a16="http://schemas.microsoft.com/office/drawing/2014/main" id="{795E2CB4-D5DA-4CA3-BE8A-076D7629521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503910" y="3887330"/>
            <a:ext cx="1234333" cy="590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20" name="Espace réservé du texte 31">
            <a:extLst>
              <a:ext uri="{FF2B5EF4-FFF2-40B4-BE49-F238E27FC236}">
                <a16:creationId xmlns:a16="http://schemas.microsoft.com/office/drawing/2014/main" id="{085EBA28-EE9D-4B8A-B502-266BED4E734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67531" y="3891486"/>
            <a:ext cx="1234333" cy="590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23" name="Espace réservé du texte 31">
            <a:extLst>
              <a:ext uri="{FF2B5EF4-FFF2-40B4-BE49-F238E27FC236}">
                <a16:creationId xmlns:a16="http://schemas.microsoft.com/office/drawing/2014/main" id="{BCC075B2-C341-4C35-B1DF-094196A9F0F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262" y="1878447"/>
            <a:ext cx="8367320" cy="46088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25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0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897194FC-A262-4D4B-9E53-9C71D4F03C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1930744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837488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10" name="Espace réservé du texte 31">
            <a:extLst>
              <a:ext uri="{FF2B5EF4-FFF2-40B4-BE49-F238E27FC236}">
                <a16:creationId xmlns:a16="http://schemas.microsoft.com/office/drawing/2014/main" id="{5A0475C5-75D2-414E-B529-7C27B601C1D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55571" y="1091164"/>
            <a:ext cx="8383194" cy="7979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100">
                <a:solidFill>
                  <a:srgbClr val="D4051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250"/>
              </a:lnSpc>
              <a:spcBef>
                <a:spcPts val="0"/>
              </a:spcBef>
              <a:spcAft>
                <a:spcPts val="600"/>
              </a:spcAft>
              <a:buNone/>
              <a:defRPr sz="1100" b="1">
                <a:solidFill>
                  <a:srgbClr val="D40511"/>
                </a:solidFill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  <a:p>
            <a:pPr lvl="1"/>
            <a:r>
              <a:rPr lang="fr-FR"/>
              <a:t>Texte 2</a:t>
            </a:r>
          </a:p>
        </p:txBody>
      </p:sp>
      <p:sp>
        <p:nvSpPr>
          <p:cNvPr id="26" name="Espace réservé du texte 22">
            <a:extLst>
              <a:ext uri="{FF2B5EF4-FFF2-40B4-BE49-F238E27FC236}">
                <a16:creationId xmlns:a16="http://schemas.microsoft.com/office/drawing/2014/main" id="{11596BF9-BEB0-4D6F-8D2E-4A5D07C4269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4991" y="1901371"/>
            <a:ext cx="8393774" cy="1833115"/>
          </a:xfrm>
          <a:prstGeom prst="rect">
            <a:avLst/>
          </a:prstGeom>
        </p:spPr>
        <p:txBody>
          <a:bodyPr lIns="36000"/>
          <a:lstStyle>
            <a:lvl1pPr marL="179388" indent="-179388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00" b="0">
                <a:solidFill>
                  <a:schemeClr val="tx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  <a:p>
            <a:pPr lvl="0"/>
            <a:endParaRPr lang="fr-FR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F71DA588-7F71-4315-95E8-5364E6C63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2012311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4EE92F3D-F2AF-4C36-94A8-6AD003C017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22" name="Espace réservé du texte 7">
            <a:extLst>
              <a:ext uri="{FF2B5EF4-FFF2-40B4-BE49-F238E27FC236}">
                <a16:creationId xmlns:a16="http://schemas.microsoft.com/office/drawing/2014/main" id="{0A384516-04C1-49CE-A120-CD1D69801F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837488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050F97F-FC8F-48CC-91B4-DC221A1AC8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1831098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F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Une image contenant arbre, extérieur, bus, jaune&#10;&#10;Description générée automatiquement">
            <a:extLst>
              <a:ext uri="{FF2B5EF4-FFF2-40B4-BE49-F238E27FC236}">
                <a16:creationId xmlns:a16="http://schemas.microsoft.com/office/drawing/2014/main" id="{BD434E43-5869-439D-B698-F7B58935BF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62" t="45776" r="16075" b="11293"/>
          <a:stretch/>
        </p:blipFill>
        <p:spPr>
          <a:xfrm>
            <a:off x="-166976" y="0"/>
            <a:ext cx="9310976" cy="312243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6EEBCCE-3447-4BF0-B95C-B34879E533C5}"/>
              </a:ext>
            </a:extLst>
          </p:cNvPr>
          <p:cNvSpPr/>
          <p:nvPr userDrawn="1"/>
        </p:nvSpPr>
        <p:spPr>
          <a:xfrm>
            <a:off x="0" y="2704171"/>
            <a:ext cx="9144000" cy="2440917"/>
          </a:xfrm>
          <a:prstGeom prst="rect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F97E5D4-C8BA-4C82-ACB2-671028D61D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16149" y="1992583"/>
            <a:ext cx="7183438" cy="8506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5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</a:t>
            </a:r>
          </a:p>
        </p:txBody>
      </p:sp>
      <p:sp>
        <p:nvSpPr>
          <p:cNvPr id="6" name="Espace réservé du texte 9">
            <a:extLst>
              <a:ext uri="{FF2B5EF4-FFF2-40B4-BE49-F238E27FC236}">
                <a16:creationId xmlns:a16="http://schemas.microsoft.com/office/drawing/2014/main" id="{A24937AB-E5AF-42CB-AEC1-E2A0F6DD14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16149" y="2855241"/>
            <a:ext cx="7183438" cy="8506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5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</a:t>
            </a:r>
          </a:p>
        </p:txBody>
      </p:sp>
      <p:pic>
        <p:nvPicPr>
          <p:cNvPr id="5" name="Image 4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947E65E5-F57F-4F02-B9EA-1FA8B17BF34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2397" y="3612452"/>
            <a:ext cx="1527051" cy="313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9661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TITRE CH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AFAB382-23D3-45E2-BE2C-9E398A0F7FC5}"/>
              </a:ext>
            </a:extLst>
          </p:cNvPr>
          <p:cNvSpPr/>
          <p:nvPr userDrawn="1"/>
        </p:nvSpPr>
        <p:spPr>
          <a:xfrm>
            <a:off x="0" y="0"/>
            <a:ext cx="9144000" cy="5145007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>
            <a:extLst>
              <a:ext uri="{FF2B5EF4-FFF2-40B4-BE49-F238E27FC236}">
                <a16:creationId xmlns:a16="http://schemas.microsoft.com/office/drawing/2014/main" id="{37B5F54D-7DD1-4D5A-9FB2-95DB0E5BD8CC}"/>
              </a:ext>
            </a:extLst>
          </p:cNvPr>
          <p:cNvSpPr txBox="1"/>
          <p:nvPr userDrawn="1"/>
        </p:nvSpPr>
        <p:spPr>
          <a:xfrm>
            <a:off x="273788" y="1606919"/>
            <a:ext cx="8596424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fr-FR" sz="5500" b="1">
                <a:solidFill>
                  <a:srgbClr val="D40511"/>
                </a:solidFill>
                <a:latin typeface="Delivery" panose="020F0503020204020204" pitchFamily="34" charset="0"/>
              </a:rPr>
              <a:t>CHARTE GRAPHIQUE DHL</a:t>
            </a:r>
          </a:p>
        </p:txBody>
      </p:sp>
    </p:spTree>
    <p:extLst>
      <p:ext uri="{BB962C8B-B14F-4D97-AF65-F5344CB8AC3E}">
        <p14:creationId xmlns:p14="http://schemas.microsoft.com/office/powerpoint/2010/main" val="3069440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TYPOGRAPH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630FA23-2A69-4786-B4A8-16309425DA85}"/>
              </a:ext>
            </a:extLst>
          </p:cNvPr>
          <p:cNvSpPr/>
          <p:nvPr userDrawn="1"/>
        </p:nvSpPr>
        <p:spPr>
          <a:xfrm>
            <a:off x="674916" y="3754907"/>
            <a:ext cx="3324497" cy="8462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68860BAA-A5BB-4A95-A7E7-1F6F07DFBE9C}"/>
              </a:ext>
            </a:extLst>
          </p:cNvPr>
          <p:cNvSpPr txBox="1"/>
          <p:nvPr userDrawn="1"/>
        </p:nvSpPr>
        <p:spPr>
          <a:xfrm>
            <a:off x="674914" y="3770120"/>
            <a:ext cx="3324497" cy="830997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r>
              <a:rPr lang="fr-FR" sz="1600" err="1">
                <a:latin typeface="Delivery" panose="020F0503020204020204" pitchFamily="34" charset="0"/>
              </a:rPr>
              <a:t>abcdefghijklmnopqrstuvwxyz</a:t>
            </a:r>
            <a:endParaRPr lang="fr-FR" sz="1600">
              <a:latin typeface="Delivery" panose="020F0503020204020204" pitchFamily="34" charset="0"/>
            </a:endParaRPr>
          </a:p>
          <a:p>
            <a:r>
              <a:rPr lang="fr-FR" sz="1600">
                <a:latin typeface="Delivery" panose="020F0503020204020204" pitchFamily="34" charset="0"/>
              </a:rPr>
              <a:t>123456789ABCDEFGHIJKLMNOPKRSTUVWXYZ°!?§$%&amp;/()=@&gt;#*</a:t>
            </a:r>
          </a:p>
        </p:txBody>
      </p:sp>
      <p:sp>
        <p:nvSpPr>
          <p:cNvPr id="11" name="Titre 1">
            <a:extLst>
              <a:ext uri="{FF2B5EF4-FFF2-40B4-BE49-F238E27FC236}">
                <a16:creationId xmlns:a16="http://schemas.microsoft.com/office/drawing/2014/main" id="{73FC4A3C-8E4B-44C2-A8F1-F65458324BC7}"/>
              </a:ext>
            </a:extLst>
          </p:cNvPr>
          <p:cNvSpPr txBox="1">
            <a:spLocks/>
          </p:cNvSpPr>
          <p:nvPr userDrawn="1"/>
        </p:nvSpPr>
        <p:spPr>
          <a:xfrm>
            <a:off x="677779" y="391385"/>
            <a:ext cx="7783286" cy="45783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1"/>
                </a:solidFill>
                <a:latin typeface="Delivery" panose="020F0503020204020204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La typographie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A4E8D54D-F21A-4860-8C04-6C64D48D5E13}"/>
              </a:ext>
            </a:extLst>
          </p:cNvPr>
          <p:cNvSpPr txBox="1"/>
          <p:nvPr userDrawn="1"/>
        </p:nvSpPr>
        <p:spPr>
          <a:xfrm>
            <a:off x="674914" y="985899"/>
            <a:ext cx="22838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>
                <a:latin typeface="Delivery" panose="020F0503020204020204" pitchFamily="34" charset="0"/>
              </a:rPr>
              <a:t>DELIVERY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A1F8C9-1D3B-4096-AA09-67E1FE2416A2}"/>
              </a:ext>
            </a:extLst>
          </p:cNvPr>
          <p:cNvSpPr/>
          <p:nvPr userDrawn="1"/>
        </p:nvSpPr>
        <p:spPr>
          <a:xfrm>
            <a:off x="674916" y="1397061"/>
            <a:ext cx="3324497" cy="23121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5DA88B6-6937-4A87-AE7D-8E7C3A086AD0}"/>
              </a:ext>
            </a:extLst>
          </p:cNvPr>
          <p:cNvSpPr txBox="1"/>
          <p:nvPr userDrawn="1"/>
        </p:nvSpPr>
        <p:spPr>
          <a:xfrm>
            <a:off x="687979" y="1402810"/>
            <a:ext cx="314815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>
                <a:solidFill>
                  <a:srgbClr val="D40511"/>
                </a:solidFill>
                <a:latin typeface="Delivery" panose="020F0503020204020204" pitchFamily="34" charset="0"/>
              </a:rPr>
              <a:t>BLACK CONDENSED</a:t>
            </a:r>
          </a:p>
          <a:p>
            <a:r>
              <a:rPr lang="fr-FR" b="1">
                <a:solidFill>
                  <a:srgbClr val="D40511"/>
                </a:solidFill>
                <a:latin typeface="Delivery Light" panose="020F0403020204020204" pitchFamily="34" charset="0"/>
              </a:rPr>
              <a:t>LIGHT CONDENSED</a:t>
            </a:r>
          </a:p>
          <a:p>
            <a:r>
              <a:rPr lang="fr-FR" b="1">
                <a:solidFill>
                  <a:schemeClr val="tx1"/>
                </a:solidFill>
                <a:latin typeface="Delivery" panose="020F0503020204020204" pitchFamily="34" charset="0"/>
              </a:rPr>
              <a:t>Bold</a:t>
            </a:r>
          </a:p>
          <a:p>
            <a:r>
              <a:rPr lang="fr-FR" b="1" i="1">
                <a:solidFill>
                  <a:schemeClr val="tx1"/>
                </a:solidFill>
                <a:latin typeface="Delivery" panose="020F0503020204020204" pitchFamily="34" charset="0"/>
              </a:rPr>
              <a:t>Bold Italic</a:t>
            </a:r>
          </a:p>
          <a:p>
            <a:r>
              <a:rPr lang="fr-FR" b="0" i="0">
                <a:solidFill>
                  <a:schemeClr val="tx1"/>
                </a:solidFill>
                <a:latin typeface="Delivery" panose="020F0503020204020204" pitchFamily="34" charset="0"/>
              </a:rPr>
              <a:t>Regula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0" i="1">
                <a:solidFill>
                  <a:schemeClr val="tx1"/>
                </a:solidFill>
                <a:latin typeface="Delivery" panose="020F0503020204020204" pitchFamily="34" charset="0"/>
              </a:rPr>
              <a:t>Regular Italic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0" i="0">
                <a:solidFill>
                  <a:schemeClr val="tx1"/>
                </a:solidFill>
                <a:latin typeface="Delivery Light" panose="020F0403020204020204" pitchFamily="34" charset="0"/>
              </a:rPr>
              <a:t>Ligh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0" i="1">
                <a:solidFill>
                  <a:schemeClr val="tx1"/>
                </a:solidFill>
                <a:latin typeface="Delivery Light" panose="020F0403020204020204" pitchFamily="34" charset="0"/>
              </a:rPr>
              <a:t>Light Italic</a:t>
            </a:r>
          </a:p>
        </p:txBody>
      </p:sp>
    </p:spTree>
    <p:extLst>
      <p:ext uri="{BB962C8B-B14F-4D97-AF65-F5344CB8AC3E}">
        <p14:creationId xmlns:p14="http://schemas.microsoft.com/office/powerpoint/2010/main" val="2700520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NUANC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>
            <a:extLst>
              <a:ext uri="{FF2B5EF4-FFF2-40B4-BE49-F238E27FC236}">
                <a16:creationId xmlns:a16="http://schemas.microsoft.com/office/drawing/2014/main" id="{45E4D3FF-8FE5-46B7-8220-AB7A1C6C0AA6}"/>
              </a:ext>
            </a:extLst>
          </p:cNvPr>
          <p:cNvSpPr txBox="1">
            <a:spLocks/>
          </p:cNvSpPr>
          <p:nvPr userDrawn="1"/>
        </p:nvSpPr>
        <p:spPr>
          <a:xfrm>
            <a:off x="674912" y="384721"/>
            <a:ext cx="7783286" cy="45783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1"/>
                </a:solidFill>
                <a:latin typeface="Delivery" panose="020F0503020204020204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Les couleur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705C6C38-93A0-497D-A10E-389993ED6E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471"/>
          <a:stretch/>
        </p:blipFill>
        <p:spPr>
          <a:xfrm>
            <a:off x="674913" y="966651"/>
            <a:ext cx="7783285" cy="361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329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NIVEAU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>
            <a:extLst>
              <a:ext uri="{FF2B5EF4-FFF2-40B4-BE49-F238E27FC236}">
                <a16:creationId xmlns:a16="http://schemas.microsoft.com/office/drawing/2014/main" id="{B43E7AEF-570A-4834-9F67-8213179E86F7}"/>
              </a:ext>
            </a:extLst>
          </p:cNvPr>
          <p:cNvSpPr txBox="1">
            <a:spLocks/>
          </p:cNvSpPr>
          <p:nvPr userDrawn="1"/>
        </p:nvSpPr>
        <p:spPr>
          <a:xfrm>
            <a:off x="674914" y="389762"/>
            <a:ext cx="7783286" cy="45783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1"/>
                </a:solidFill>
                <a:latin typeface="Delivery" panose="020F0503020204020204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Les niveaux de titre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B1089B36-8991-473C-88A4-EBEB8EE69726}"/>
              </a:ext>
            </a:extLst>
          </p:cNvPr>
          <p:cNvSpPr txBox="1"/>
          <p:nvPr userDrawn="1"/>
        </p:nvSpPr>
        <p:spPr>
          <a:xfrm>
            <a:off x="674915" y="824317"/>
            <a:ext cx="7783286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6500" b="1">
                <a:latin typeface="Delivery" panose="020F0503020204020204" pitchFamily="34" charset="0"/>
              </a:rPr>
              <a:t>TITRE 65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19994A6-02C5-40A0-B8B7-3EE4DA150096}"/>
              </a:ext>
            </a:extLst>
          </p:cNvPr>
          <p:cNvSpPr txBox="1"/>
          <p:nvPr userDrawn="1"/>
        </p:nvSpPr>
        <p:spPr>
          <a:xfrm>
            <a:off x="680357" y="2874537"/>
            <a:ext cx="7783285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5500" b="1">
                <a:latin typeface="Delivery" panose="020F0503020204020204" pitchFamily="34" charset="0"/>
              </a:rPr>
              <a:t>Sommaire 55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49C0453-27F6-4602-927B-7514D3FE533A}"/>
              </a:ext>
            </a:extLst>
          </p:cNvPr>
          <p:cNvSpPr txBox="1"/>
          <p:nvPr userDrawn="1"/>
        </p:nvSpPr>
        <p:spPr>
          <a:xfrm>
            <a:off x="674913" y="1641704"/>
            <a:ext cx="7783286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fr-FR" sz="5500" b="1">
                <a:latin typeface="Delivery" panose="020F0503020204020204" pitchFamily="34" charset="0"/>
              </a:rPr>
              <a:t>TITRE 1 55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24BB73D5-F87D-426D-9DE7-CD979FD18CA4}"/>
              </a:ext>
            </a:extLst>
          </p:cNvPr>
          <p:cNvSpPr txBox="1"/>
          <p:nvPr userDrawn="1"/>
        </p:nvSpPr>
        <p:spPr>
          <a:xfrm>
            <a:off x="674911" y="2450270"/>
            <a:ext cx="4572000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fr-FR" sz="3500" b="1">
                <a:latin typeface="Delivery" panose="020F0503020204020204" pitchFamily="34" charset="0"/>
              </a:rPr>
              <a:t>Titre 2 35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0FF0EC60-1C49-46F8-A40F-B2CE5B05BD19}"/>
              </a:ext>
            </a:extLst>
          </p:cNvPr>
          <p:cNvSpPr txBox="1"/>
          <p:nvPr userDrawn="1"/>
        </p:nvSpPr>
        <p:spPr>
          <a:xfrm>
            <a:off x="674911" y="3476319"/>
            <a:ext cx="778328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fr-FR" sz="8000" b="1">
                <a:ln w="28575">
                  <a:solidFill>
                    <a:schemeClr val="tx1"/>
                  </a:solidFill>
                </a:ln>
                <a:noFill/>
                <a:latin typeface="Delivery" panose="020F0503020204020204" pitchFamily="34" charset="0"/>
              </a:rPr>
              <a:t>PARTIE 80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AC5A62F-6C72-449B-AB35-A69F6E2E3EB0}"/>
              </a:ext>
            </a:extLst>
          </p:cNvPr>
          <p:cNvSpPr txBox="1"/>
          <p:nvPr userDrawn="1"/>
        </p:nvSpPr>
        <p:spPr>
          <a:xfrm>
            <a:off x="669466" y="4621916"/>
            <a:ext cx="4572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fr-FR"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rPr>
              <a:t>PARTIE 8</a:t>
            </a:r>
          </a:p>
        </p:txBody>
      </p:sp>
    </p:spTree>
    <p:extLst>
      <p:ext uri="{BB962C8B-B14F-4D97-AF65-F5344CB8AC3E}">
        <p14:creationId xmlns:p14="http://schemas.microsoft.com/office/powerpoint/2010/main" val="385782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NIVEAU TIT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>
            <a:extLst>
              <a:ext uri="{FF2B5EF4-FFF2-40B4-BE49-F238E27FC236}">
                <a16:creationId xmlns:a16="http://schemas.microsoft.com/office/drawing/2014/main" id="{B43E7AEF-570A-4834-9F67-8213179E86F7}"/>
              </a:ext>
            </a:extLst>
          </p:cNvPr>
          <p:cNvSpPr txBox="1">
            <a:spLocks/>
          </p:cNvSpPr>
          <p:nvPr userDrawn="1"/>
        </p:nvSpPr>
        <p:spPr>
          <a:xfrm>
            <a:off x="674914" y="389762"/>
            <a:ext cx="7783286" cy="45783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1"/>
                </a:solidFill>
                <a:latin typeface="Delivery" panose="020F0503020204020204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Les niveaux de titr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AAF66FB-E84C-40B0-A8E6-7F3EEFACA77E}"/>
              </a:ext>
            </a:extLst>
          </p:cNvPr>
          <p:cNvSpPr txBox="1"/>
          <p:nvPr userDrawn="1"/>
        </p:nvSpPr>
        <p:spPr>
          <a:xfrm>
            <a:off x="674913" y="710121"/>
            <a:ext cx="8061158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7000" b="1">
                <a:latin typeface="Delivery" panose="020F0503020204020204" pitchFamily="34" charset="0"/>
              </a:rPr>
              <a:t>Sous-titre 70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E25520E1-4309-4469-878D-F6347D2950BA}"/>
              </a:ext>
            </a:extLst>
          </p:cNvPr>
          <p:cNvSpPr txBox="1"/>
          <p:nvPr userDrawn="1"/>
        </p:nvSpPr>
        <p:spPr>
          <a:xfrm>
            <a:off x="674913" y="1987379"/>
            <a:ext cx="7715108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300" b="1">
                <a:latin typeface="Delivery" panose="020F0503020204020204" pitchFamily="34" charset="0"/>
              </a:rPr>
              <a:t>DATE 13</a:t>
            </a:r>
          </a:p>
          <a:p>
            <a:r>
              <a:rPr lang="fr-FR" sz="1300" b="1">
                <a:latin typeface="Delivery" panose="020F0503020204020204" pitchFamily="34" charset="0"/>
              </a:rPr>
              <a:t>NOM DE LA SOCIÉTÉ 13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119994A6-02C5-40A0-B8B7-3EE4DA150096}"/>
              </a:ext>
            </a:extLst>
          </p:cNvPr>
          <p:cNvSpPr txBox="1"/>
          <p:nvPr userDrawn="1"/>
        </p:nvSpPr>
        <p:spPr>
          <a:xfrm>
            <a:off x="685801" y="1701267"/>
            <a:ext cx="1834115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300" b="1">
                <a:latin typeface="Delivery" panose="020F0503020204020204" pitchFamily="34" charset="0"/>
              </a:rPr>
              <a:t>Sous-titre 1 13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A41669FB-8E3C-43C0-A84C-DC9A8E6B541E}"/>
              </a:ext>
            </a:extLst>
          </p:cNvPr>
          <p:cNvSpPr txBox="1"/>
          <p:nvPr userDrawn="1"/>
        </p:nvSpPr>
        <p:spPr>
          <a:xfrm>
            <a:off x="674913" y="2295378"/>
            <a:ext cx="457200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8000" b="1">
                <a:latin typeface="Delivery" panose="020F0503020204020204" pitchFamily="34" charset="0"/>
              </a:rPr>
              <a:t>N° 80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7BD9B0F5-962C-43E1-B976-A70EE2AD1D8A}"/>
              </a:ext>
            </a:extLst>
          </p:cNvPr>
          <p:cNvSpPr txBox="1"/>
          <p:nvPr userDrawn="1"/>
        </p:nvSpPr>
        <p:spPr>
          <a:xfrm>
            <a:off x="674913" y="3331187"/>
            <a:ext cx="457200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000" b="1">
                <a:latin typeface="Delivery" panose="020F0503020204020204" pitchFamily="34" charset="0"/>
              </a:rPr>
              <a:t>Chiffre 30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F4C249-55DC-4F89-9F0D-F2A1C1FAB044}"/>
              </a:ext>
            </a:extLst>
          </p:cNvPr>
          <p:cNvSpPr txBox="1"/>
          <p:nvPr userDrawn="1"/>
        </p:nvSpPr>
        <p:spPr>
          <a:xfrm>
            <a:off x="669471" y="3754041"/>
            <a:ext cx="45720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200" b="1">
                <a:latin typeface="Delivery" panose="020F0503020204020204" pitchFamily="34" charset="0"/>
              </a:rPr>
              <a:t>Chiffre  1 22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329DD377-726A-4FE4-8E49-9951EA5FB834}"/>
              </a:ext>
            </a:extLst>
          </p:cNvPr>
          <p:cNvSpPr txBox="1"/>
          <p:nvPr userDrawn="1"/>
        </p:nvSpPr>
        <p:spPr>
          <a:xfrm>
            <a:off x="664028" y="4308683"/>
            <a:ext cx="4572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>
                <a:latin typeface="Delivery" panose="020F0503020204020204" pitchFamily="34" charset="0"/>
              </a:rPr>
              <a:t>TEXTE 1 10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BF6A166-43A9-4749-B7CC-DBD8477EC1D8}"/>
              </a:ext>
            </a:extLst>
          </p:cNvPr>
          <p:cNvSpPr txBox="1"/>
          <p:nvPr userDrawn="1"/>
        </p:nvSpPr>
        <p:spPr>
          <a:xfrm>
            <a:off x="664028" y="4528417"/>
            <a:ext cx="4572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100" b="1">
                <a:latin typeface="Delivery" panose="020F0503020204020204" pitchFamily="34" charset="0"/>
              </a:rPr>
              <a:t>TEXTE 2 11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3D41190E-8570-426C-9738-329BD96F7F29}"/>
              </a:ext>
            </a:extLst>
          </p:cNvPr>
          <p:cNvSpPr txBox="1"/>
          <p:nvPr userDrawn="1"/>
        </p:nvSpPr>
        <p:spPr>
          <a:xfrm>
            <a:off x="664028" y="4733814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>
                <a:latin typeface="Delivery" panose="020F0503020204020204" pitchFamily="34" charset="0"/>
              </a:rPr>
              <a:t>TEXTE 3 12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96CB6D7E-715E-42BF-B8DB-DD83690B4FA9}"/>
              </a:ext>
            </a:extLst>
          </p:cNvPr>
          <p:cNvSpPr txBox="1"/>
          <p:nvPr userDrawn="1"/>
        </p:nvSpPr>
        <p:spPr>
          <a:xfrm>
            <a:off x="658586" y="4114907"/>
            <a:ext cx="4572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050">
                <a:latin typeface="Delivery" panose="020F0503020204020204" pitchFamily="34" charset="0"/>
              </a:rPr>
              <a:t>Texte 10,5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AA030F37-9169-44A2-9174-9844E379727C}"/>
              </a:ext>
            </a:extLst>
          </p:cNvPr>
          <p:cNvSpPr txBox="1"/>
          <p:nvPr userDrawn="1"/>
        </p:nvSpPr>
        <p:spPr>
          <a:xfrm>
            <a:off x="1837153" y="4714498"/>
            <a:ext cx="45720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500" b="1">
                <a:latin typeface="Delivery" panose="020F0503020204020204" pitchFamily="34" charset="0"/>
              </a:rPr>
              <a:t>TEXTE 4 15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13EC6045-F746-4EF6-A430-5951FD8A7A6E}"/>
              </a:ext>
            </a:extLst>
          </p:cNvPr>
          <p:cNvSpPr txBox="1"/>
          <p:nvPr userDrawn="1"/>
        </p:nvSpPr>
        <p:spPr>
          <a:xfrm>
            <a:off x="2955471" y="1698961"/>
            <a:ext cx="1834115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500" b="1">
                <a:latin typeface="Delivery" panose="020F0503020204020204" pitchFamily="34" charset="0"/>
              </a:rPr>
              <a:t>Sous-titre 2 15</a:t>
            </a:r>
          </a:p>
        </p:txBody>
      </p:sp>
    </p:spTree>
    <p:extLst>
      <p:ext uri="{BB962C8B-B14F-4D97-AF65-F5344CB8AC3E}">
        <p14:creationId xmlns:p14="http://schemas.microsoft.com/office/powerpoint/2010/main" val="262715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TITR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AFAB382-23D3-45E2-BE2C-9E398A0F7FC5}"/>
              </a:ext>
            </a:extLst>
          </p:cNvPr>
          <p:cNvSpPr/>
          <p:nvPr userDrawn="1"/>
        </p:nvSpPr>
        <p:spPr>
          <a:xfrm>
            <a:off x="-88" y="0"/>
            <a:ext cx="9144000" cy="5145007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CC00"/>
              </a:solidFill>
            </a:endParaRPr>
          </a:p>
        </p:txBody>
      </p:sp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8D45117-5DF9-4170-9E6A-F84657F933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86962" y="1789341"/>
            <a:ext cx="6753225" cy="6534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00"/>
              </a:lnSpc>
              <a:spcBef>
                <a:spcPts val="0"/>
              </a:spcBef>
              <a:buNone/>
              <a:defRPr sz="5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1</a:t>
            </a:r>
          </a:p>
        </p:txBody>
      </p:sp>
      <p:sp>
        <p:nvSpPr>
          <p:cNvPr id="24" name="Espace réservé du texte 5">
            <a:extLst>
              <a:ext uri="{FF2B5EF4-FFF2-40B4-BE49-F238E27FC236}">
                <a16:creationId xmlns:a16="http://schemas.microsoft.com/office/drawing/2014/main" id="{CB685772-90F9-4E92-8405-BBC824CAD1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0431" y="2980239"/>
            <a:ext cx="3866336" cy="65341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00"/>
              </a:lnSpc>
              <a:spcBef>
                <a:spcPts val="0"/>
              </a:spcBef>
              <a:buNone/>
              <a:defRPr sz="8000" b="1" spc="400" baseline="0">
                <a:ln w="28575">
                  <a:solidFill>
                    <a:schemeClr val="bg1"/>
                  </a:solidFill>
                </a:ln>
                <a:noFill/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</a:t>
            </a:r>
          </a:p>
        </p:txBody>
      </p:sp>
      <p:pic>
        <p:nvPicPr>
          <p:cNvPr id="10" name="Graphique 9">
            <a:extLst>
              <a:ext uri="{FF2B5EF4-FFF2-40B4-BE49-F238E27FC236}">
                <a16:creationId xmlns:a16="http://schemas.microsoft.com/office/drawing/2014/main" id="{0C84D962-1A4A-4EF1-84B2-8901D2984D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11250" y="2743200"/>
            <a:ext cx="699097" cy="724990"/>
          </a:xfrm>
          <a:prstGeom prst="rect">
            <a:avLst/>
          </a:prstGeom>
        </p:spPr>
      </p:pic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D4708EF5-F9A5-4BBC-A960-DEAC540FDA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3298" y="2605251"/>
            <a:ext cx="1521097" cy="10908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N°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:a16="http://schemas.microsoft.com/office/drawing/2014/main" id="{189410F4-91A0-4CE4-917A-033016BC8336}"/>
              </a:ext>
            </a:extLst>
          </p:cNvPr>
          <p:cNvCxnSpPr>
            <a:cxnSpLocks/>
          </p:cNvCxnSpPr>
          <p:nvPr userDrawn="1"/>
        </p:nvCxnSpPr>
        <p:spPr>
          <a:xfrm>
            <a:off x="1430382" y="2526033"/>
            <a:ext cx="7713530" cy="794"/>
          </a:xfrm>
          <a:prstGeom prst="line">
            <a:avLst/>
          </a:prstGeom>
          <a:ln w="19050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5425051-E4BD-4CFC-862E-9A7000A2CD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3406942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>
            <a:extLst>
              <a:ext uri="{FF2B5EF4-FFF2-40B4-BE49-F238E27FC236}">
                <a16:creationId xmlns:a16="http://schemas.microsoft.com/office/drawing/2014/main" id="{57235A6D-8A48-4802-B447-DF5758F01FA6}"/>
              </a:ext>
            </a:extLst>
          </p:cNvPr>
          <p:cNvSpPr txBox="1">
            <a:spLocks/>
          </p:cNvSpPr>
          <p:nvPr userDrawn="1"/>
        </p:nvSpPr>
        <p:spPr>
          <a:xfrm>
            <a:off x="674914" y="384721"/>
            <a:ext cx="7783286" cy="45783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1"/>
                </a:solidFill>
                <a:latin typeface="Delivery" panose="020F0503020204020204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Les puces et numérotation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4B58BCEB-A201-45BC-A660-A1D0E6EC874E}"/>
              </a:ext>
            </a:extLst>
          </p:cNvPr>
          <p:cNvSpPr/>
          <p:nvPr userDrawn="1"/>
        </p:nvSpPr>
        <p:spPr>
          <a:xfrm>
            <a:off x="749342" y="2399649"/>
            <a:ext cx="219600" cy="219600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75" b="1">
                <a:latin typeface="Delivery" panose="020F0503020204020204" pitchFamily="34" charset="0"/>
              </a:rPr>
              <a:t>1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8A4826FB-57D7-455E-9BE5-437624F3DFA6}"/>
              </a:ext>
            </a:extLst>
          </p:cNvPr>
          <p:cNvSpPr txBox="1">
            <a:spLocks/>
          </p:cNvSpPr>
          <p:nvPr userDrawn="1"/>
        </p:nvSpPr>
        <p:spPr>
          <a:xfrm>
            <a:off x="674914" y="1617403"/>
            <a:ext cx="1353972" cy="262613"/>
          </a:xfrm>
          <a:prstGeom prst="rect">
            <a:avLst/>
          </a:prstGeom>
        </p:spPr>
        <p:txBody>
          <a:bodyPr anchor="ctr" anchorCtr="0"/>
          <a:lstStyle>
            <a:lvl1pPr marL="179388" indent="-179388" algn="l" defTabSz="685800" rtl="0" eaLnBrk="1" latinLnBrk="0" hangingPunct="1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50" b="0" kern="1200">
                <a:solidFill>
                  <a:srgbClr val="D4051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Text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9A7139BB-5049-447F-9F79-89BAB1CCC191}"/>
              </a:ext>
            </a:extLst>
          </p:cNvPr>
          <p:cNvSpPr txBox="1">
            <a:spLocks/>
          </p:cNvSpPr>
          <p:nvPr userDrawn="1"/>
        </p:nvSpPr>
        <p:spPr>
          <a:xfrm>
            <a:off x="674914" y="2008526"/>
            <a:ext cx="1353972" cy="262613"/>
          </a:xfrm>
          <a:prstGeom prst="rect">
            <a:avLst/>
          </a:prstGeom>
        </p:spPr>
        <p:txBody>
          <a:bodyPr anchor="ctr" anchorCtr="0"/>
          <a:lstStyle>
            <a:lvl1pPr marL="179388" indent="-179388" algn="l" defTabSz="685800" rtl="0" eaLnBrk="1" latinLnBrk="0" hangingPunct="1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>
                <a:srgbClr val="D40511"/>
              </a:buClr>
              <a:buFont typeface="TT Norms" panose="02000503030000020003" pitchFamily="50" charset="0"/>
              <a:buChar char="→"/>
              <a:defRPr sz="1050" b="0" kern="1200">
                <a:solidFill>
                  <a:srgbClr val="D4051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>
                <a:solidFill>
                  <a:schemeClr val="tx1"/>
                </a:solidFill>
              </a:rPr>
              <a:t>Texte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9AC52BD6-23EA-445E-B992-37B41C799A62}"/>
              </a:ext>
            </a:extLst>
          </p:cNvPr>
          <p:cNvSpPr/>
          <p:nvPr userDrawn="1"/>
        </p:nvSpPr>
        <p:spPr>
          <a:xfrm>
            <a:off x="1170893" y="2399649"/>
            <a:ext cx="219600" cy="219600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75" b="1">
                <a:latin typeface="Delivery" panose="020F0503020204020204" pitchFamily="34" charset="0"/>
              </a:rPr>
              <a:t>2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9185833-6CCA-483C-A999-A9477CE806FA}"/>
              </a:ext>
            </a:extLst>
          </p:cNvPr>
          <p:cNvSpPr/>
          <p:nvPr userDrawn="1"/>
        </p:nvSpPr>
        <p:spPr>
          <a:xfrm>
            <a:off x="1592444" y="2399649"/>
            <a:ext cx="219600" cy="219600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75" b="1">
                <a:latin typeface="Delivery" panose="020F0503020204020204" pitchFamily="34" charset="0"/>
              </a:rPr>
              <a:t>3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75759350-BF64-4499-8018-E33A848D700C}"/>
              </a:ext>
            </a:extLst>
          </p:cNvPr>
          <p:cNvSpPr/>
          <p:nvPr userDrawn="1"/>
        </p:nvSpPr>
        <p:spPr>
          <a:xfrm>
            <a:off x="2013995" y="2399649"/>
            <a:ext cx="219600" cy="219600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75" b="1">
                <a:latin typeface="Delivery" panose="020F0503020204020204" pitchFamily="34" charset="0"/>
              </a:rPr>
              <a:t>4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C43E5F31-D3B5-4BA1-B37B-B4620E1E2AFC}"/>
              </a:ext>
            </a:extLst>
          </p:cNvPr>
          <p:cNvSpPr/>
          <p:nvPr userDrawn="1"/>
        </p:nvSpPr>
        <p:spPr>
          <a:xfrm>
            <a:off x="2435546" y="2399649"/>
            <a:ext cx="219600" cy="219600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75" b="1">
                <a:latin typeface="Delivery" panose="020F0503020204020204" pitchFamily="34" charset="0"/>
              </a:rPr>
              <a:t>5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36F1235D-9307-4EC5-BEBE-C1C7F2488593}"/>
              </a:ext>
            </a:extLst>
          </p:cNvPr>
          <p:cNvSpPr/>
          <p:nvPr userDrawn="1"/>
        </p:nvSpPr>
        <p:spPr>
          <a:xfrm>
            <a:off x="2857097" y="2399649"/>
            <a:ext cx="219600" cy="219600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75" b="1">
                <a:latin typeface="Delivery" panose="020F0503020204020204" pitchFamily="34" charset="0"/>
              </a:rPr>
              <a:t>6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290F022E-88ED-4E9B-B58A-551DD368555F}"/>
              </a:ext>
            </a:extLst>
          </p:cNvPr>
          <p:cNvSpPr/>
          <p:nvPr userDrawn="1"/>
        </p:nvSpPr>
        <p:spPr>
          <a:xfrm>
            <a:off x="3278648" y="2399649"/>
            <a:ext cx="219600" cy="219600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75" b="1">
                <a:latin typeface="Delivery" panose="020F0503020204020204" pitchFamily="34" charset="0"/>
              </a:rPr>
              <a:t>7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1C48CA3-EAAC-4605-8575-E87DBC99D434}"/>
              </a:ext>
            </a:extLst>
          </p:cNvPr>
          <p:cNvSpPr/>
          <p:nvPr userDrawn="1"/>
        </p:nvSpPr>
        <p:spPr>
          <a:xfrm>
            <a:off x="3700199" y="2399649"/>
            <a:ext cx="219600" cy="219600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75" b="1">
                <a:latin typeface="Delivery" panose="020F0503020204020204" pitchFamily="34" charset="0"/>
              </a:rPr>
              <a:t>8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4E16CB53-03FB-480E-ADBD-683085CE0308}"/>
              </a:ext>
            </a:extLst>
          </p:cNvPr>
          <p:cNvSpPr/>
          <p:nvPr userDrawn="1"/>
        </p:nvSpPr>
        <p:spPr>
          <a:xfrm>
            <a:off x="4121750" y="2399649"/>
            <a:ext cx="219600" cy="219600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75" b="1">
                <a:latin typeface="Delivery" panose="020F0503020204020204" pitchFamily="34" charset="0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555994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PICTOGRAM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2516">
            <a:extLst>
              <a:ext uri="{FF2B5EF4-FFF2-40B4-BE49-F238E27FC236}">
                <a16:creationId xmlns:a16="http://schemas.microsoft.com/office/drawing/2014/main" id="{DC20CD4E-1094-4DFF-8561-0F50A8D432E6}"/>
              </a:ext>
            </a:extLst>
          </p:cNvPr>
          <p:cNvGrpSpPr/>
          <p:nvPr userDrawn="1"/>
        </p:nvGrpSpPr>
        <p:grpSpPr>
          <a:xfrm>
            <a:off x="714102" y="1162621"/>
            <a:ext cx="355601" cy="443502"/>
            <a:chOff x="42862" y="1028700"/>
            <a:chExt cx="423863" cy="528638"/>
          </a:xfrm>
        </p:grpSpPr>
        <p:sp>
          <p:nvSpPr>
            <p:cNvPr id="5" name="Oval 6">
              <a:extLst>
                <a:ext uri="{FF2B5EF4-FFF2-40B4-BE49-F238E27FC236}">
                  <a16:creationId xmlns:a16="http://schemas.microsoft.com/office/drawing/2014/main" id="{5BA9A3BA-26F1-46ED-BC95-7D10DA67AF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2" y="1028700"/>
              <a:ext cx="423863" cy="153988"/>
            </a:xfrm>
            <a:prstGeom prst="ellipse">
              <a:avLst/>
            </a:pr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0D82F87E-C742-46A1-B76B-EB8201770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2" y="1171575"/>
              <a:ext cx="423863" cy="138113"/>
            </a:xfrm>
            <a:custGeom>
              <a:avLst/>
              <a:gdLst>
                <a:gd name="T0" fmla="*/ 0 w 113"/>
                <a:gd name="T1" fmla="*/ 0 h 37"/>
                <a:gd name="T2" fmla="*/ 56 w 113"/>
                <a:gd name="T3" fmla="*/ 14 h 37"/>
                <a:gd name="T4" fmla="*/ 113 w 113"/>
                <a:gd name="T5" fmla="*/ 0 h 37"/>
                <a:gd name="T6" fmla="*/ 113 w 113"/>
                <a:gd name="T7" fmla="*/ 16 h 37"/>
                <a:gd name="T8" fmla="*/ 57 w 113"/>
                <a:gd name="T9" fmla="*/ 37 h 37"/>
                <a:gd name="T10" fmla="*/ 0 w 113"/>
                <a:gd name="T11" fmla="*/ 16 h 37"/>
                <a:gd name="T12" fmla="*/ 0 w 113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37">
                  <a:moveTo>
                    <a:pt x="0" y="0"/>
                  </a:moveTo>
                  <a:cubicBezTo>
                    <a:pt x="0" y="0"/>
                    <a:pt x="16" y="14"/>
                    <a:pt x="56" y="14"/>
                  </a:cubicBezTo>
                  <a:cubicBezTo>
                    <a:pt x="96" y="14"/>
                    <a:pt x="113" y="0"/>
                    <a:pt x="113" y="0"/>
                  </a:cubicBezTo>
                  <a:cubicBezTo>
                    <a:pt x="113" y="0"/>
                    <a:pt x="113" y="11"/>
                    <a:pt x="113" y="16"/>
                  </a:cubicBezTo>
                  <a:cubicBezTo>
                    <a:pt x="113" y="21"/>
                    <a:pt x="106" y="37"/>
                    <a:pt x="57" y="37"/>
                  </a:cubicBezTo>
                  <a:cubicBezTo>
                    <a:pt x="7" y="37"/>
                    <a:pt x="0" y="20"/>
                    <a:pt x="0" y="16"/>
                  </a:cubicBez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7F63D30F-216B-4045-B272-0E79889F1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2" y="1295400"/>
              <a:ext cx="423863" cy="138113"/>
            </a:xfrm>
            <a:custGeom>
              <a:avLst/>
              <a:gdLst>
                <a:gd name="T0" fmla="*/ 0 w 113"/>
                <a:gd name="T1" fmla="*/ 0 h 37"/>
                <a:gd name="T2" fmla="*/ 56 w 113"/>
                <a:gd name="T3" fmla="*/ 14 h 37"/>
                <a:gd name="T4" fmla="*/ 113 w 113"/>
                <a:gd name="T5" fmla="*/ 0 h 37"/>
                <a:gd name="T6" fmla="*/ 113 w 113"/>
                <a:gd name="T7" fmla="*/ 16 h 37"/>
                <a:gd name="T8" fmla="*/ 57 w 113"/>
                <a:gd name="T9" fmla="*/ 37 h 37"/>
                <a:gd name="T10" fmla="*/ 0 w 113"/>
                <a:gd name="T11" fmla="*/ 16 h 37"/>
                <a:gd name="T12" fmla="*/ 0 w 113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37">
                  <a:moveTo>
                    <a:pt x="0" y="0"/>
                  </a:moveTo>
                  <a:cubicBezTo>
                    <a:pt x="0" y="0"/>
                    <a:pt x="16" y="14"/>
                    <a:pt x="56" y="14"/>
                  </a:cubicBezTo>
                  <a:cubicBezTo>
                    <a:pt x="96" y="14"/>
                    <a:pt x="113" y="0"/>
                    <a:pt x="113" y="0"/>
                  </a:cubicBezTo>
                  <a:cubicBezTo>
                    <a:pt x="113" y="0"/>
                    <a:pt x="113" y="11"/>
                    <a:pt x="113" y="16"/>
                  </a:cubicBezTo>
                  <a:cubicBezTo>
                    <a:pt x="113" y="21"/>
                    <a:pt x="106" y="37"/>
                    <a:pt x="57" y="37"/>
                  </a:cubicBezTo>
                  <a:cubicBezTo>
                    <a:pt x="7" y="37"/>
                    <a:pt x="0" y="20"/>
                    <a:pt x="0" y="16"/>
                  </a:cubicBez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D7FE312F-99F9-48AA-8D83-7724C44C2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2" y="1419225"/>
              <a:ext cx="423863" cy="138113"/>
            </a:xfrm>
            <a:custGeom>
              <a:avLst/>
              <a:gdLst>
                <a:gd name="T0" fmla="*/ 0 w 113"/>
                <a:gd name="T1" fmla="*/ 0 h 37"/>
                <a:gd name="T2" fmla="*/ 56 w 113"/>
                <a:gd name="T3" fmla="*/ 14 h 37"/>
                <a:gd name="T4" fmla="*/ 113 w 113"/>
                <a:gd name="T5" fmla="*/ 0 h 37"/>
                <a:gd name="T6" fmla="*/ 113 w 113"/>
                <a:gd name="T7" fmla="*/ 16 h 37"/>
                <a:gd name="T8" fmla="*/ 57 w 113"/>
                <a:gd name="T9" fmla="*/ 37 h 37"/>
                <a:gd name="T10" fmla="*/ 0 w 113"/>
                <a:gd name="T11" fmla="*/ 16 h 37"/>
                <a:gd name="T12" fmla="*/ 0 w 113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37">
                  <a:moveTo>
                    <a:pt x="0" y="0"/>
                  </a:moveTo>
                  <a:cubicBezTo>
                    <a:pt x="0" y="0"/>
                    <a:pt x="16" y="14"/>
                    <a:pt x="56" y="14"/>
                  </a:cubicBezTo>
                  <a:cubicBezTo>
                    <a:pt x="96" y="14"/>
                    <a:pt x="113" y="0"/>
                    <a:pt x="113" y="0"/>
                  </a:cubicBezTo>
                  <a:cubicBezTo>
                    <a:pt x="113" y="0"/>
                    <a:pt x="113" y="11"/>
                    <a:pt x="113" y="16"/>
                  </a:cubicBezTo>
                  <a:cubicBezTo>
                    <a:pt x="113" y="21"/>
                    <a:pt x="106" y="37"/>
                    <a:pt x="57" y="37"/>
                  </a:cubicBezTo>
                  <a:cubicBezTo>
                    <a:pt x="7" y="37"/>
                    <a:pt x="0" y="20"/>
                    <a:pt x="0" y="16"/>
                  </a:cubicBez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Group 12515">
            <a:extLst>
              <a:ext uri="{FF2B5EF4-FFF2-40B4-BE49-F238E27FC236}">
                <a16:creationId xmlns:a16="http://schemas.microsoft.com/office/drawing/2014/main" id="{66AE0451-271E-4728-AB77-96E8CC0080C6}"/>
              </a:ext>
            </a:extLst>
          </p:cNvPr>
          <p:cNvGrpSpPr/>
          <p:nvPr userDrawn="1"/>
        </p:nvGrpSpPr>
        <p:grpSpPr>
          <a:xfrm>
            <a:off x="1632563" y="1162621"/>
            <a:ext cx="358264" cy="443502"/>
            <a:chOff x="1085850" y="1012825"/>
            <a:chExt cx="427038" cy="528638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CEB633F-960B-470F-BBED-585A62E59F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5850" y="1012825"/>
              <a:ext cx="427038" cy="153988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34C98B9B-8153-4A25-9053-20F5720CF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50" y="1155700"/>
              <a:ext cx="423863" cy="139700"/>
            </a:xfrm>
            <a:custGeom>
              <a:avLst/>
              <a:gdLst>
                <a:gd name="T0" fmla="*/ 0 w 113"/>
                <a:gd name="T1" fmla="*/ 0 h 37"/>
                <a:gd name="T2" fmla="*/ 57 w 113"/>
                <a:gd name="T3" fmla="*/ 14 h 37"/>
                <a:gd name="T4" fmla="*/ 113 w 113"/>
                <a:gd name="T5" fmla="*/ 0 h 37"/>
                <a:gd name="T6" fmla="*/ 113 w 113"/>
                <a:gd name="T7" fmla="*/ 16 h 37"/>
                <a:gd name="T8" fmla="*/ 57 w 113"/>
                <a:gd name="T9" fmla="*/ 37 h 37"/>
                <a:gd name="T10" fmla="*/ 0 w 113"/>
                <a:gd name="T11" fmla="*/ 16 h 37"/>
                <a:gd name="T12" fmla="*/ 0 w 113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37">
                  <a:moveTo>
                    <a:pt x="0" y="0"/>
                  </a:moveTo>
                  <a:cubicBezTo>
                    <a:pt x="0" y="0"/>
                    <a:pt x="17" y="14"/>
                    <a:pt x="57" y="14"/>
                  </a:cubicBezTo>
                  <a:cubicBezTo>
                    <a:pt x="96" y="14"/>
                    <a:pt x="113" y="0"/>
                    <a:pt x="113" y="0"/>
                  </a:cubicBezTo>
                  <a:cubicBezTo>
                    <a:pt x="113" y="0"/>
                    <a:pt x="113" y="11"/>
                    <a:pt x="113" y="16"/>
                  </a:cubicBezTo>
                  <a:cubicBezTo>
                    <a:pt x="113" y="21"/>
                    <a:pt x="106" y="37"/>
                    <a:pt x="57" y="37"/>
                  </a:cubicBezTo>
                  <a:cubicBezTo>
                    <a:pt x="8" y="37"/>
                    <a:pt x="0" y="20"/>
                    <a:pt x="0" y="16"/>
                  </a:cubicBez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4B829324-3FFA-44D8-9CF0-31A7CBBF6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50" y="1403350"/>
              <a:ext cx="423863" cy="138113"/>
            </a:xfrm>
            <a:custGeom>
              <a:avLst/>
              <a:gdLst>
                <a:gd name="T0" fmla="*/ 0 w 113"/>
                <a:gd name="T1" fmla="*/ 0 h 37"/>
                <a:gd name="T2" fmla="*/ 57 w 113"/>
                <a:gd name="T3" fmla="*/ 14 h 37"/>
                <a:gd name="T4" fmla="*/ 113 w 113"/>
                <a:gd name="T5" fmla="*/ 0 h 37"/>
                <a:gd name="T6" fmla="*/ 113 w 113"/>
                <a:gd name="T7" fmla="*/ 16 h 37"/>
                <a:gd name="T8" fmla="*/ 57 w 113"/>
                <a:gd name="T9" fmla="*/ 37 h 37"/>
                <a:gd name="T10" fmla="*/ 0 w 113"/>
                <a:gd name="T11" fmla="*/ 16 h 37"/>
                <a:gd name="T12" fmla="*/ 0 w 113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37">
                  <a:moveTo>
                    <a:pt x="0" y="0"/>
                  </a:moveTo>
                  <a:cubicBezTo>
                    <a:pt x="0" y="0"/>
                    <a:pt x="17" y="14"/>
                    <a:pt x="57" y="14"/>
                  </a:cubicBezTo>
                  <a:cubicBezTo>
                    <a:pt x="96" y="14"/>
                    <a:pt x="113" y="0"/>
                    <a:pt x="113" y="0"/>
                  </a:cubicBezTo>
                  <a:cubicBezTo>
                    <a:pt x="113" y="0"/>
                    <a:pt x="113" y="11"/>
                    <a:pt x="113" y="16"/>
                  </a:cubicBezTo>
                  <a:cubicBezTo>
                    <a:pt x="113" y="21"/>
                    <a:pt x="106" y="37"/>
                    <a:pt x="57" y="37"/>
                  </a:cubicBezTo>
                  <a:cubicBezTo>
                    <a:pt x="8" y="37"/>
                    <a:pt x="0" y="20"/>
                    <a:pt x="0" y="16"/>
                  </a:cubicBezTo>
                  <a:cubicBezTo>
                    <a:pt x="0" y="12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880D8A22-64E3-4EE9-B2C2-40D101701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512" y="1298575"/>
              <a:ext cx="41275" cy="101600"/>
            </a:xfrm>
            <a:custGeom>
              <a:avLst/>
              <a:gdLst>
                <a:gd name="T0" fmla="*/ 11 w 11"/>
                <a:gd name="T1" fmla="*/ 0 h 27"/>
                <a:gd name="T2" fmla="*/ 4 w 11"/>
                <a:gd name="T3" fmla="*/ 3 h 27"/>
                <a:gd name="T4" fmla="*/ 0 w 11"/>
                <a:gd name="T5" fmla="*/ 27 h 27"/>
                <a:gd name="T6" fmla="*/ 8 w 11"/>
                <a:gd name="T7" fmla="*/ 25 h 27"/>
                <a:gd name="T8" fmla="*/ 11 w 11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7">
                  <a:moveTo>
                    <a:pt x="11" y="0"/>
                  </a:moveTo>
                  <a:cubicBezTo>
                    <a:pt x="9" y="1"/>
                    <a:pt x="7" y="2"/>
                    <a:pt x="4" y="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3" y="27"/>
                    <a:pt x="5" y="26"/>
                    <a:pt x="8" y="25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D5A2DFBB-98C5-4A0D-98CD-17B0B1AD1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425" y="1301750"/>
              <a:ext cx="38100" cy="90488"/>
            </a:xfrm>
            <a:custGeom>
              <a:avLst/>
              <a:gdLst>
                <a:gd name="T0" fmla="*/ 0 w 10"/>
                <a:gd name="T1" fmla="*/ 21 h 24"/>
                <a:gd name="T2" fmla="*/ 7 w 10"/>
                <a:gd name="T3" fmla="*/ 24 h 24"/>
                <a:gd name="T4" fmla="*/ 10 w 10"/>
                <a:gd name="T5" fmla="*/ 2 h 24"/>
                <a:gd name="T6" fmla="*/ 3 w 10"/>
                <a:gd name="T7" fmla="*/ 0 h 24"/>
                <a:gd name="T8" fmla="*/ 0 w 10"/>
                <a:gd name="T9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4">
                  <a:moveTo>
                    <a:pt x="0" y="21"/>
                  </a:moveTo>
                  <a:cubicBezTo>
                    <a:pt x="2" y="22"/>
                    <a:pt x="4" y="23"/>
                    <a:pt x="7" y="24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7" y="2"/>
                    <a:pt x="5" y="1"/>
                    <a:pt x="3" y="0"/>
                  </a:cubicBezTo>
                  <a:lnTo>
                    <a:pt x="0" y="21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FE6CEA42-F8F4-481B-B621-9B1CB02B8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462" y="1317625"/>
              <a:ext cx="36513" cy="88900"/>
            </a:xfrm>
            <a:custGeom>
              <a:avLst/>
              <a:gdLst>
                <a:gd name="T0" fmla="*/ 10 w 10"/>
                <a:gd name="T1" fmla="*/ 1 h 24"/>
                <a:gd name="T2" fmla="*/ 3 w 10"/>
                <a:gd name="T3" fmla="*/ 0 h 24"/>
                <a:gd name="T4" fmla="*/ 0 w 10"/>
                <a:gd name="T5" fmla="*/ 22 h 24"/>
                <a:gd name="T6" fmla="*/ 7 w 10"/>
                <a:gd name="T7" fmla="*/ 24 h 24"/>
                <a:gd name="T8" fmla="*/ 10 w 10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4">
                  <a:moveTo>
                    <a:pt x="10" y="1"/>
                  </a:moveTo>
                  <a:cubicBezTo>
                    <a:pt x="7" y="1"/>
                    <a:pt x="5" y="0"/>
                    <a:pt x="3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2" y="23"/>
                    <a:pt x="4" y="23"/>
                    <a:pt x="7" y="24"/>
                  </a:cubicBezTo>
                  <a:lnTo>
                    <a:pt x="10" y="1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9B6449B4-FDCC-4B55-8A6A-C750B0F5C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9850" y="1323975"/>
              <a:ext cx="38100" cy="90488"/>
            </a:xfrm>
            <a:custGeom>
              <a:avLst/>
              <a:gdLst>
                <a:gd name="T0" fmla="*/ 0 w 10"/>
                <a:gd name="T1" fmla="*/ 24 h 24"/>
                <a:gd name="T2" fmla="*/ 7 w 10"/>
                <a:gd name="T3" fmla="*/ 24 h 24"/>
                <a:gd name="T4" fmla="*/ 10 w 10"/>
                <a:gd name="T5" fmla="*/ 0 h 24"/>
                <a:gd name="T6" fmla="*/ 4 w 10"/>
                <a:gd name="T7" fmla="*/ 1 h 24"/>
                <a:gd name="T8" fmla="*/ 0 w 10"/>
                <a:gd name="T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4">
                  <a:moveTo>
                    <a:pt x="0" y="24"/>
                  </a:moveTo>
                  <a:cubicBezTo>
                    <a:pt x="3" y="24"/>
                    <a:pt x="5" y="24"/>
                    <a:pt x="7" y="24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6" y="1"/>
                    <a:pt x="4" y="1"/>
                  </a:cubicBezTo>
                  <a:lnTo>
                    <a:pt x="0" y="24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C3BA2E84-BE95-4A73-A4A4-C0BA1C9FB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5887" y="1317625"/>
              <a:ext cx="41275" cy="93663"/>
            </a:xfrm>
            <a:custGeom>
              <a:avLst/>
              <a:gdLst>
                <a:gd name="T0" fmla="*/ 11 w 11"/>
                <a:gd name="T1" fmla="*/ 0 h 25"/>
                <a:gd name="T2" fmla="*/ 4 w 11"/>
                <a:gd name="T3" fmla="*/ 1 h 25"/>
                <a:gd name="T4" fmla="*/ 0 w 11"/>
                <a:gd name="T5" fmla="*/ 25 h 25"/>
                <a:gd name="T6" fmla="*/ 8 w 11"/>
                <a:gd name="T7" fmla="*/ 24 h 25"/>
                <a:gd name="T8" fmla="*/ 11 w 11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cubicBezTo>
                    <a:pt x="9" y="0"/>
                    <a:pt x="7" y="1"/>
                    <a:pt x="4" y="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25"/>
                    <a:pt x="5" y="24"/>
                    <a:pt x="8" y="24"/>
                  </a:cubicBezTo>
                  <a:lnTo>
                    <a:pt x="11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FBC29057-55A4-4A89-9D27-B82A93568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2725" y="1279525"/>
              <a:ext cx="26988" cy="98425"/>
            </a:xfrm>
            <a:custGeom>
              <a:avLst/>
              <a:gdLst>
                <a:gd name="T0" fmla="*/ 4 w 7"/>
                <a:gd name="T1" fmla="*/ 2 h 26"/>
                <a:gd name="T2" fmla="*/ 0 w 7"/>
                <a:gd name="T3" fmla="*/ 26 h 26"/>
                <a:gd name="T4" fmla="*/ 7 w 7"/>
                <a:gd name="T5" fmla="*/ 16 h 26"/>
                <a:gd name="T6" fmla="*/ 7 w 7"/>
                <a:gd name="T7" fmla="*/ 0 h 26"/>
                <a:gd name="T8" fmla="*/ 4 w 7"/>
                <a:gd name="T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6">
                  <a:moveTo>
                    <a:pt x="4" y="2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6" y="22"/>
                    <a:pt x="7" y="18"/>
                    <a:pt x="7" y="16"/>
                  </a:cubicBezTo>
                  <a:cubicBezTo>
                    <a:pt x="7" y="11"/>
                    <a:pt x="7" y="0"/>
                    <a:pt x="7" y="0"/>
                  </a:cubicBezTo>
                  <a:cubicBezTo>
                    <a:pt x="7" y="0"/>
                    <a:pt x="6" y="1"/>
                    <a:pt x="4" y="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243F7BB5-5698-4FA5-A808-D470F96FA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50" y="1279525"/>
              <a:ext cx="22225" cy="85725"/>
            </a:xfrm>
            <a:custGeom>
              <a:avLst/>
              <a:gdLst>
                <a:gd name="T0" fmla="*/ 4 w 6"/>
                <a:gd name="T1" fmla="*/ 23 h 23"/>
                <a:gd name="T2" fmla="*/ 6 w 6"/>
                <a:gd name="T3" fmla="*/ 4 h 23"/>
                <a:gd name="T4" fmla="*/ 0 w 6"/>
                <a:gd name="T5" fmla="*/ 0 h 23"/>
                <a:gd name="T6" fmla="*/ 0 w 6"/>
                <a:gd name="T7" fmla="*/ 16 h 23"/>
                <a:gd name="T8" fmla="*/ 4 w 6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3">
                  <a:moveTo>
                    <a:pt x="4" y="23"/>
                  </a:moveTo>
                  <a:cubicBezTo>
                    <a:pt x="6" y="4"/>
                    <a:pt x="6" y="4"/>
                    <a:pt x="6" y="4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0" y="12"/>
                    <a:pt x="0" y="16"/>
                  </a:cubicBezTo>
                  <a:cubicBezTo>
                    <a:pt x="0" y="17"/>
                    <a:pt x="1" y="20"/>
                    <a:pt x="4" y="23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81432137-8A49-44B8-9471-83748A3B7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400" y="1328738"/>
              <a:ext cx="38100" cy="90488"/>
            </a:xfrm>
            <a:custGeom>
              <a:avLst/>
              <a:gdLst>
                <a:gd name="T0" fmla="*/ 10 w 10"/>
                <a:gd name="T1" fmla="*/ 0 h 24"/>
                <a:gd name="T2" fmla="*/ 3 w 10"/>
                <a:gd name="T3" fmla="*/ 0 h 24"/>
                <a:gd name="T4" fmla="*/ 0 w 10"/>
                <a:gd name="T5" fmla="*/ 24 h 24"/>
                <a:gd name="T6" fmla="*/ 1 w 10"/>
                <a:gd name="T7" fmla="*/ 24 h 24"/>
                <a:gd name="T8" fmla="*/ 7 w 10"/>
                <a:gd name="T9" fmla="*/ 23 h 24"/>
                <a:gd name="T10" fmla="*/ 10 w 10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24">
                  <a:moveTo>
                    <a:pt x="10" y="0"/>
                  </a:moveTo>
                  <a:cubicBezTo>
                    <a:pt x="8" y="0"/>
                    <a:pt x="6" y="0"/>
                    <a:pt x="3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1" y="24"/>
                    <a:pt x="1" y="24"/>
                  </a:cubicBezTo>
                  <a:cubicBezTo>
                    <a:pt x="3" y="24"/>
                    <a:pt x="5" y="24"/>
                    <a:pt x="7" y="23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1CF757E7-9086-4DC5-9E99-9417FA199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4912" y="1323975"/>
              <a:ext cx="38100" cy="90488"/>
            </a:xfrm>
            <a:custGeom>
              <a:avLst/>
              <a:gdLst>
                <a:gd name="T0" fmla="*/ 10 w 10"/>
                <a:gd name="T1" fmla="*/ 1 h 24"/>
                <a:gd name="T2" fmla="*/ 3 w 10"/>
                <a:gd name="T3" fmla="*/ 0 h 24"/>
                <a:gd name="T4" fmla="*/ 0 w 10"/>
                <a:gd name="T5" fmla="*/ 23 h 24"/>
                <a:gd name="T6" fmla="*/ 6 w 10"/>
                <a:gd name="T7" fmla="*/ 24 h 24"/>
                <a:gd name="T8" fmla="*/ 10 w 10"/>
                <a:gd name="T9" fmla="*/ 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4">
                  <a:moveTo>
                    <a:pt x="10" y="1"/>
                  </a:moveTo>
                  <a:cubicBezTo>
                    <a:pt x="7" y="1"/>
                    <a:pt x="5" y="0"/>
                    <a:pt x="3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" y="23"/>
                    <a:pt x="4" y="23"/>
                    <a:pt x="6" y="24"/>
                  </a:cubicBezTo>
                  <a:lnTo>
                    <a:pt x="10" y="1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3C89547-ED97-4D4E-AA16-94CF9F376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950" y="1328738"/>
              <a:ext cx="36513" cy="85725"/>
            </a:xfrm>
            <a:custGeom>
              <a:avLst/>
              <a:gdLst>
                <a:gd name="T0" fmla="*/ 10 w 10"/>
                <a:gd name="T1" fmla="*/ 0 h 23"/>
                <a:gd name="T2" fmla="*/ 3 w 10"/>
                <a:gd name="T3" fmla="*/ 0 h 23"/>
                <a:gd name="T4" fmla="*/ 0 w 10"/>
                <a:gd name="T5" fmla="*/ 23 h 23"/>
                <a:gd name="T6" fmla="*/ 7 w 10"/>
                <a:gd name="T7" fmla="*/ 23 h 23"/>
                <a:gd name="T8" fmla="*/ 10 w 10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3">
                  <a:moveTo>
                    <a:pt x="10" y="0"/>
                  </a:moveTo>
                  <a:cubicBezTo>
                    <a:pt x="8" y="0"/>
                    <a:pt x="5" y="0"/>
                    <a:pt x="3" y="0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2" y="23"/>
                    <a:pt x="4" y="23"/>
                    <a:pt x="7" y="23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4" name="Group 12504">
            <a:extLst>
              <a:ext uri="{FF2B5EF4-FFF2-40B4-BE49-F238E27FC236}">
                <a16:creationId xmlns:a16="http://schemas.microsoft.com/office/drawing/2014/main" id="{4D857ADD-8CE6-444D-B7BF-DE47AEFA4E9A}"/>
              </a:ext>
            </a:extLst>
          </p:cNvPr>
          <p:cNvGrpSpPr/>
          <p:nvPr userDrawn="1"/>
        </p:nvGrpSpPr>
        <p:grpSpPr>
          <a:xfrm>
            <a:off x="2530576" y="1145939"/>
            <a:ext cx="411538" cy="484789"/>
            <a:chOff x="2195512" y="1017588"/>
            <a:chExt cx="490538" cy="577850"/>
          </a:xfrm>
        </p:grpSpPr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6D0508E3-4B80-4058-BB1E-6AAD0FD19F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5512" y="1160463"/>
              <a:ext cx="490538" cy="123825"/>
            </a:xfrm>
            <a:custGeom>
              <a:avLst/>
              <a:gdLst>
                <a:gd name="T0" fmla="*/ 0 w 131"/>
                <a:gd name="T1" fmla="*/ 0 h 33"/>
                <a:gd name="T2" fmla="*/ 0 w 131"/>
                <a:gd name="T3" fmla="*/ 33 h 33"/>
                <a:gd name="T4" fmla="*/ 131 w 131"/>
                <a:gd name="T5" fmla="*/ 33 h 33"/>
                <a:gd name="T6" fmla="*/ 131 w 131"/>
                <a:gd name="T7" fmla="*/ 0 h 33"/>
                <a:gd name="T8" fmla="*/ 0 w 131"/>
                <a:gd name="T9" fmla="*/ 0 h 33"/>
                <a:gd name="T10" fmla="*/ 8 w 131"/>
                <a:gd name="T11" fmla="*/ 23 h 33"/>
                <a:gd name="T12" fmla="*/ 14 w 131"/>
                <a:gd name="T13" fmla="*/ 10 h 33"/>
                <a:gd name="T14" fmla="*/ 22 w 131"/>
                <a:gd name="T15" fmla="*/ 10 h 33"/>
                <a:gd name="T16" fmla="*/ 16 w 131"/>
                <a:gd name="T17" fmla="*/ 23 h 33"/>
                <a:gd name="T18" fmla="*/ 8 w 131"/>
                <a:gd name="T19" fmla="*/ 23 h 33"/>
                <a:gd name="T20" fmla="*/ 20 w 131"/>
                <a:gd name="T21" fmla="*/ 23 h 33"/>
                <a:gd name="T22" fmla="*/ 26 w 131"/>
                <a:gd name="T23" fmla="*/ 10 h 33"/>
                <a:gd name="T24" fmla="*/ 33 w 131"/>
                <a:gd name="T25" fmla="*/ 10 h 33"/>
                <a:gd name="T26" fmla="*/ 27 w 131"/>
                <a:gd name="T27" fmla="*/ 23 h 33"/>
                <a:gd name="T28" fmla="*/ 20 w 131"/>
                <a:gd name="T29" fmla="*/ 23 h 33"/>
                <a:gd name="T30" fmla="*/ 31 w 131"/>
                <a:gd name="T31" fmla="*/ 23 h 33"/>
                <a:gd name="T32" fmla="*/ 37 w 131"/>
                <a:gd name="T33" fmla="*/ 10 h 33"/>
                <a:gd name="T34" fmla="*/ 44 w 131"/>
                <a:gd name="T35" fmla="*/ 10 h 33"/>
                <a:gd name="T36" fmla="*/ 38 w 131"/>
                <a:gd name="T37" fmla="*/ 23 h 33"/>
                <a:gd name="T38" fmla="*/ 31 w 131"/>
                <a:gd name="T39" fmla="*/ 23 h 33"/>
                <a:gd name="T40" fmla="*/ 42 w 131"/>
                <a:gd name="T41" fmla="*/ 23 h 33"/>
                <a:gd name="T42" fmla="*/ 48 w 131"/>
                <a:gd name="T43" fmla="*/ 10 h 33"/>
                <a:gd name="T44" fmla="*/ 55 w 131"/>
                <a:gd name="T45" fmla="*/ 10 h 33"/>
                <a:gd name="T46" fmla="*/ 49 w 131"/>
                <a:gd name="T47" fmla="*/ 23 h 33"/>
                <a:gd name="T48" fmla="*/ 42 w 131"/>
                <a:gd name="T49" fmla="*/ 23 h 33"/>
                <a:gd name="T50" fmla="*/ 60 w 131"/>
                <a:gd name="T51" fmla="*/ 23 h 33"/>
                <a:gd name="T52" fmla="*/ 53 w 131"/>
                <a:gd name="T53" fmla="*/ 23 h 33"/>
                <a:gd name="T54" fmla="*/ 59 w 131"/>
                <a:gd name="T55" fmla="*/ 10 h 33"/>
                <a:gd name="T56" fmla="*/ 66 w 131"/>
                <a:gd name="T57" fmla="*/ 10 h 33"/>
                <a:gd name="T58" fmla="*/ 60 w 131"/>
                <a:gd name="T59" fmla="*/ 23 h 33"/>
                <a:gd name="T60" fmla="*/ 115 w 131"/>
                <a:gd name="T61" fmla="*/ 21 h 33"/>
                <a:gd name="T62" fmla="*/ 110 w 131"/>
                <a:gd name="T63" fmla="*/ 17 h 33"/>
                <a:gd name="T64" fmla="*/ 115 w 131"/>
                <a:gd name="T65" fmla="*/ 12 h 33"/>
                <a:gd name="T66" fmla="*/ 120 w 131"/>
                <a:gd name="T67" fmla="*/ 17 h 33"/>
                <a:gd name="T68" fmla="*/ 115 w 131"/>
                <a:gd name="T6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1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31" y="33"/>
                    <a:pt x="131" y="33"/>
                    <a:pt x="131" y="33"/>
                  </a:cubicBezTo>
                  <a:cubicBezTo>
                    <a:pt x="131" y="0"/>
                    <a:pt x="131" y="0"/>
                    <a:pt x="131" y="0"/>
                  </a:cubicBezTo>
                  <a:lnTo>
                    <a:pt x="0" y="0"/>
                  </a:lnTo>
                  <a:close/>
                  <a:moveTo>
                    <a:pt x="8" y="23"/>
                  </a:moveTo>
                  <a:cubicBezTo>
                    <a:pt x="14" y="10"/>
                    <a:pt x="14" y="10"/>
                    <a:pt x="14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16" y="23"/>
                    <a:pt x="16" y="23"/>
                    <a:pt x="16" y="23"/>
                  </a:cubicBezTo>
                  <a:lnTo>
                    <a:pt x="8" y="23"/>
                  </a:lnTo>
                  <a:close/>
                  <a:moveTo>
                    <a:pt x="20" y="23"/>
                  </a:moveTo>
                  <a:cubicBezTo>
                    <a:pt x="26" y="10"/>
                    <a:pt x="26" y="10"/>
                    <a:pt x="26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0" y="23"/>
                  </a:lnTo>
                  <a:close/>
                  <a:moveTo>
                    <a:pt x="31" y="23"/>
                  </a:moveTo>
                  <a:cubicBezTo>
                    <a:pt x="37" y="10"/>
                    <a:pt x="37" y="10"/>
                    <a:pt x="37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38" y="23"/>
                    <a:pt x="38" y="23"/>
                    <a:pt x="38" y="23"/>
                  </a:cubicBezTo>
                  <a:lnTo>
                    <a:pt x="31" y="23"/>
                  </a:lnTo>
                  <a:close/>
                  <a:moveTo>
                    <a:pt x="42" y="23"/>
                  </a:moveTo>
                  <a:cubicBezTo>
                    <a:pt x="48" y="10"/>
                    <a:pt x="48" y="10"/>
                    <a:pt x="48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49" y="23"/>
                    <a:pt x="49" y="23"/>
                    <a:pt x="49" y="23"/>
                  </a:cubicBezTo>
                  <a:lnTo>
                    <a:pt x="42" y="23"/>
                  </a:lnTo>
                  <a:close/>
                  <a:moveTo>
                    <a:pt x="60" y="23"/>
                  </a:moveTo>
                  <a:cubicBezTo>
                    <a:pt x="53" y="23"/>
                    <a:pt x="53" y="23"/>
                    <a:pt x="53" y="23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23"/>
                  </a:lnTo>
                  <a:close/>
                  <a:moveTo>
                    <a:pt x="115" y="21"/>
                  </a:moveTo>
                  <a:cubicBezTo>
                    <a:pt x="112" y="21"/>
                    <a:pt x="110" y="19"/>
                    <a:pt x="110" y="17"/>
                  </a:cubicBezTo>
                  <a:cubicBezTo>
                    <a:pt x="110" y="14"/>
                    <a:pt x="112" y="12"/>
                    <a:pt x="115" y="12"/>
                  </a:cubicBezTo>
                  <a:cubicBezTo>
                    <a:pt x="118" y="12"/>
                    <a:pt x="120" y="14"/>
                    <a:pt x="120" y="17"/>
                  </a:cubicBezTo>
                  <a:cubicBezTo>
                    <a:pt x="120" y="19"/>
                    <a:pt x="118" y="21"/>
                    <a:pt x="115" y="21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EB8E0917-E5C2-4DDE-BAC9-CFD882FCF6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5512" y="1317625"/>
              <a:ext cx="490538" cy="123825"/>
            </a:xfrm>
            <a:custGeom>
              <a:avLst/>
              <a:gdLst>
                <a:gd name="T0" fmla="*/ 0 w 131"/>
                <a:gd name="T1" fmla="*/ 0 h 33"/>
                <a:gd name="T2" fmla="*/ 0 w 131"/>
                <a:gd name="T3" fmla="*/ 33 h 33"/>
                <a:gd name="T4" fmla="*/ 131 w 131"/>
                <a:gd name="T5" fmla="*/ 33 h 33"/>
                <a:gd name="T6" fmla="*/ 131 w 131"/>
                <a:gd name="T7" fmla="*/ 0 h 33"/>
                <a:gd name="T8" fmla="*/ 0 w 131"/>
                <a:gd name="T9" fmla="*/ 0 h 33"/>
                <a:gd name="T10" fmla="*/ 8 w 131"/>
                <a:gd name="T11" fmla="*/ 23 h 33"/>
                <a:gd name="T12" fmla="*/ 14 w 131"/>
                <a:gd name="T13" fmla="*/ 9 h 33"/>
                <a:gd name="T14" fmla="*/ 22 w 131"/>
                <a:gd name="T15" fmla="*/ 9 h 33"/>
                <a:gd name="T16" fmla="*/ 16 w 131"/>
                <a:gd name="T17" fmla="*/ 23 h 33"/>
                <a:gd name="T18" fmla="*/ 8 w 131"/>
                <a:gd name="T19" fmla="*/ 23 h 33"/>
                <a:gd name="T20" fmla="*/ 20 w 131"/>
                <a:gd name="T21" fmla="*/ 23 h 33"/>
                <a:gd name="T22" fmla="*/ 26 w 131"/>
                <a:gd name="T23" fmla="*/ 9 h 33"/>
                <a:gd name="T24" fmla="*/ 33 w 131"/>
                <a:gd name="T25" fmla="*/ 9 h 33"/>
                <a:gd name="T26" fmla="*/ 27 w 131"/>
                <a:gd name="T27" fmla="*/ 23 h 33"/>
                <a:gd name="T28" fmla="*/ 20 w 131"/>
                <a:gd name="T29" fmla="*/ 23 h 33"/>
                <a:gd name="T30" fmla="*/ 31 w 131"/>
                <a:gd name="T31" fmla="*/ 23 h 33"/>
                <a:gd name="T32" fmla="*/ 37 w 131"/>
                <a:gd name="T33" fmla="*/ 9 h 33"/>
                <a:gd name="T34" fmla="*/ 44 w 131"/>
                <a:gd name="T35" fmla="*/ 9 h 33"/>
                <a:gd name="T36" fmla="*/ 38 w 131"/>
                <a:gd name="T37" fmla="*/ 23 h 33"/>
                <a:gd name="T38" fmla="*/ 31 w 131"/>
                <a:gd name="T39" fmla="*/ 23 h 33"/>
                <a:gd name="T40" fmla="*/ 42 w 131"/>
                <a:gd name="T41" fmla="*/ 23 h 33"/>
                <a:gd name="T42" fmla="*/ 48 w 131"/>
                <a:gd name="T43" fmla="*/ 9 h 33"/>
                <a:gd name="T44" fmla="*/ 55 w 131"/>
                <a:gd name="T45" fmla="*/ 9 h 33"/>
                <a:gd name="T46" fmla="*/ 49 w 131"/>
                <a:gd name="T47" fmla="*/ 23 h 33"/>
                <a:gd name="T48" fmla="*/ 42 w 131"/>
                <a:gd name="T49" fmla="*/ 23 h 33"/>
                <a:gd name="T50" fmla="*/ 60 w 131"/>
                <a:gd name="T51" fmla="*/ 23 h 33"/>
                <a:gd name="T52" fmla="*/ 53 w 131"/>
                <a:gd name="T53" fmla="*/ 23 h 33"/>
                <a:gd name="T54" fmla="*/ 59 w 131"/>
                <a:gd name="T55" fmla="*/ 9 h 33"/>
                <a:gd name="T56" fmla="*/ 66 w 131"/>
                <a:gd name="T57" fmla="*/ 9 h 33"/>
                <a:gd name="T58" fmla="*/ 60 w 131"/>
                <a:gd name="T59" fmla="*/ 23 h 33"/>
                <a:gd name="T60" fmla="*/ 115 w 131"/>
                <a:gd name="T61" fmla="*/ 21 h 33"/>
                <a:gd name="T62" fmla="*/ 110 w 131"/>
                <a:gd name="T63" fmla="*/ 16 h 33"/>
                <a:gd name="T64" fmla="*/ 115 w 131"/>
                <a:gd name="T65" fmla="*/ 12 h 33"/>
                <a:gd name="T66" fmla="*/ 120 w 131"/>
                <a:gd name="T67" fmla="*/ 16 h 33"/>
                <a:gd name="T68" fmla="*/ 115 w 131"/>
                <a:gd name="T6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1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31" y="33"/>
                    <a:pt x="131" y="33"/>
                    <a:pt x="131" y="33"/>
                  </a:cubicBezTo>
                  <a:cubicBezTo>
                    <a:pt x="131" y="0"/>
                    <a:pt x="131" y="0"/>
                    <a:pt x="131" y="0"/>
                  </a:cubicBezTo>
                  <a:lnTo>
                    <a:pt x="0" y="0"/>
                  </a:lnTo>
                  <a:close/>
                  <a:moveTo>
                    <a:pt x="8" y="23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16" y="23"/>
                    <a:pt x="16" y="23"/>
                    <a:pt x="16" y="23"/>
                  </a:cubicBezTo>
                  <a:lnTo>
                    <a:pt x="8" y="23"/>
                  </a:lnTo>
                  <a:close/>
                  <a:moveTo>
                    <a:pt x="20" y="23"/>
                  </a:moveTo>
                  <a:cubicBezTo>
                    <a:pt x="26" y="9"/>
                    <a:pt x="26" y="9"/>
                    <a:pt x="26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0" y="23"/>
                  </a:lnTo>
                  <a:close/>
                  <a:moveTo>
                    <a:pt x="31" y="23"/>
                  </a:moveTo>
                  <a:cubicBezTo>
                    <a:pt x="37" y="9"/>
                    <a:pt x="37" y="9"/>
                    <a:pt x="37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8" y="23"/>
                    <a:pt x="38" y="23"/>
                    <a:pt x="38" y="23"/>
                  </a:cubicBezTo>
                  <a:lnTo>
                    <a:pt x="31" y="23"/>
                  </a:lnTo>
                  <a:close/>
                  <a:moveTo>
                    <a:pt x="42" y="23"/>
                  </a:moveTo>
                  <a:cubicBezTo>
                    <a:pt x="48" y="9"/>
                    <a:pt x="48" y="9"/>
                    <a:pt x="48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49" y="23"/>
                    <a:pt x="49" y="23"/>
                    <a:pt x="49" y="23"/>
                  </a:cubicBezTo>
                  <a:lnTo>
                    <a:pt x="42" y="23"/>
                  </a:lnTo>
                  <a:close/>
                  <a:moveTo>
                    <a:pt x="60" y="23"/>
                  </a:moveTo>
                  <a:cubicBezTo>
                    <a:pt x="53" y="23"/>
                    <a:pt x="53" y="23"/>
                    <a:pt x="53" y="23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6" y="9"/>
                    <a:pt x="66" y="9"/>
                    <a:pt x="66" y="9"/>
                  </a:cubicBezTo>
                  <a:lnTo>
                    <a:pt x="60" y="23"/>
                  </a:lnTo>
                  <a:close/>
                  <a:moveTo>
                    <a:pt x="115" y="21"/>
                  </a:moveTo>
                  <a:cubicBezTo>
                    <a:pt x="112" y="21"/>
                    <a:pt x="110" y="19"/>
                    <a:pt x="110" y="16"/>
                  </a:cubicBezTo>
                  <a:cubicBezTo>
                    <a:pt x="110" y="14"/>
                    <a:pt x="112" y="12"/>
                    <a:pt x="115" y="12"/>
                  </a:cubicBezTo>
                  <a:cubicBezTo>
                    <a:pt x="118" y="12"/>
                    <a:pt x="120" y="14"/>
                    <a:pt x="120" y="16"/>
                  </a:cubicBezTo>
                  <a:cubicBezTo>
                    <a:pt x="120" y="19"/>
                    <a:pt x="118" y="21"/>
                    <a:pt x="115" y="21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FAE091B1-27B3-4610-8212-B92BEDFE27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5512" y="1471613"/>
              <a:ext cx="490538" cy="123825"/>
            </a:xfrm>
            <a:custGeom>
              <a:avLst/>
              <a:gdLst>
                <a:gd name="T0" fmla="*/ 0 w 131"/>
                <a:gd name="T1" fmla="*/ 0 h 33"/>
                <a:gd name="T2" fmla="*/ 0 w 131"/>
                <a:gd name="T3" fmla="*/ 33 h 33"/>
                <a:gd name="T4" fmla="*/ 131 w 131"/>
                <a:gd name="T5" fmla="*/ 33 h 33"/>
                <a:gd name="T6" fmla="*/ 131 w 131"/>
                <a:gd name="T7" fmla="*/ 0 h 33"/>
                <a:gd name="T8" fmla="*/ 0 w 131"/>
                <a:gd name="T9" fmla="*/ 0 h 33"/>
                <a:gd name="T10" fmla="*/ 8 w 131"/>
                <a:gd name="T11" fmla="*/ 23 h 33"/>
                <a:gd name="T12" fmla="*/ 14 w 131"/>
                <a:gd name="T13" fmla="*/ 9 h 33"/>
                <a:gd name="T14" fmla="*/ 22 w 131"/>
                <a:gd name="T15" fmla="*/ 9 h 33"/>
                <a:gd name="T16" fmla="*/ 16 w 131"/>
                <a:gd name="T17" fmla="*/ 23 h 33"/>
                <a:gd name="T18" fmla="*/ 8 w 131"/>
                <a:gd name="T19" fmla="*/ 23 h 33"/>
                <a:gd name="T20" fmla="*/ 20 w 131"/>
                <a:gd name="T21" fmla="*/ 23 h 33"/>
                <a:gd name="T22" fmla="*/ 26 w 131"/>
                <a:gd name="T23" fmla="*/ 9 h 33"/>
                <a:gd name="T24" fmla="*/ 33 w 131"/>
                <a:gd name="T25" fmla="*/ 9 h 33"/>
                <a:gd name="T26" fmla="*/ 27 w 131"/>
                <a:gd name="T27" fmla="*/ 23 h 33"/>
                <a:gd name="T28" fmla="*/ 20 w 131"/>
                <a:gd name="T29" fmla="*/ 23 h 33"/>
                <a:gd name="T30" fmla="*/ 31 w 131"/>
                <a:gd name="T31" fmla="*/ 23 h 33"/>
                <a:gd name="T32" fmla="*/ 37 w 131"/>
                <a:gd name="T33" fmla="*/ 9 h 33"/>
                <a:gd name="T34" fmla="*/ 44 w 131"/>
                <a:gd name="T35" fmla="*/ 9 h 33"/>
                <a:gd name="T36" fmla="*/ 38 w 131"/>
                <a:gd name="T37" fmla="*/ 23 h 33"/>
                <a:gd name="T38" fmla="*/ 31 w 131"/>
                <a:gd name="T39" fmla="*/ 23 h 33"/>
                <a:gd name="T40" fmla="*/ 42 w 131"/>
                <a:gd name="T41" fmla="*/ 23 h 33"/>
                <a:gd name="T42" fmla="*/ 48 w 131"/>
                <a:gd name="T43" fmla="*/ 9 h 33"/>
                <a:gd name="T44" fmla="*/ 55 w 131"/>
                <a:gd name="T45" fmla="*/ 9 h 33"/>
                <a:gd name="T46" fmla="*/ 49 w 131"/>
                <a:gd name="T47" fmla="*/ 23 h 33"/>
                <a:gd name="T48" fmla="*/ 42 w 131"/>
                <a:gd name="T49" fmla="*/ 23 h 33"/>
                <a:gd name="T50" fmla="*/ 60 w 131"/>
                <a:gd name="T51" fmla="*/ 23 h 33"/>
                <a:gd name="T52" fmla="*/ 53 w 131"/>
                <a:gd name="T53" fmla="*/ 23 h 33"/>
                <a:gd name="T54" fmla="*/ 59 w 131"/>
                <a:gd name="T55" fmla="*/ 9 h 33"/>
                <a:gd name="T56" fmla="*/ 66 w 131"/>
                <a:gd name="T57" fmla="*/ 9 h 33"/>
                <a:gd name="T58" fmla="*/ 60 w 131"/>
                <a:gd name="T59" fmla="*/ 23 h 33"/>
                <a:gd name="T60" fmla="*/ 115 w 131"/>
                <a:gd name="T61" fmla="*/ 21 h 33"/>
                <a:gd name="T62" fmla="*/ 110 w 131"/>
                <a:gd name="T63" fmla="*/ 17 h 33"/>
                <a:gd name="T64" fmla="*/ 115 w 131"/>
                <a:gd name="T65" fmla="*/ 12 h 33"/>
                <a:gd name="T66" fmla="*/ 120 w 131"/>
                <a:gd name="T67" fmla="*/ 17 h 33"/>
                <a:gd name="T68" fmla="*/ 115 w 131"/>
                <a:gd name="T69" fmla="*/ 2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1" h="33">
                  <a:moveTo>
                    <a:pt x="0" y="0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131" y="33"/>
                    <a:pt x="131" y="33"/>
                    <a:pt x="131" y="33"/>
                  </a:cubicBezTo>
                  <a:cubicBezTo>
                    <a:pt x="131" y="0"/>
                    <a:pt x="131" y="0"/>
                    <a:pt x="131" y="0"/>
                  </a:cubicBezTo>
                  <a:lnTo>
                    <a:pt x="0" y="0"/>
                  </a:lnTo>
                  <a:close/>
                  <a:moveTo>
                    <a:pt x="8" y="23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16" y="23"/>
                    <a:pt x="16" y="23"/>
                    <a:pt x="16" y="23"/>
                  </a:cubicBezTo>
                  <a:lnTo>
                    <a:pt x="8" y="23"/>
                  </a:lnTo>
                  <a:close/>
                  <a:moveTo>
                    <a:pt x="20" y="23"/>
                  </a:moveTo>
                  <a:cubicBezTo>
                    <a:pt x="26" y="9"/>
                    <a:pt x="26" y="9"/>
                    <a:pt x="26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0" y="23"/>
                  </a:lnTo>
                  <a:close/>
                  <a:moveTo>
                    <a:pt x="31" y="23"/>
                  </a:moveTo>
                  <a:cubicBezTo>
                    <a:pt x="37" y="9"/>
                    <a:pt x="37" y="9"/>
                    <a:pt x="37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8" y="23"/>
                    <a:pt x="38" y="23"/>
                    <a:pt x="38" y="23"/>
                  </a:cubicBezTo>
                  <a:lnTo>
                    <a:pt x="31" y="23"/>
                  </a:lnTo>
                  <a:close/>
                  <a:moveTo>
                    <a:pt x="42" y="23"/>
                  </a:moveTo>
                  <a:cubicBezTo>
                    <a:pt x="48" y="9"/>
                    <a:pt x="48" y="9"/>
                    <a:pt x="48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49" y="23"/>
                    <a:pt x="49" y="23"/>
                    <a:pt x="49" y="23"/>
                  </a:cubicBezTo>
                  <a:lnTo>
                    <a:pt x="42" y="23"/>
                  </a:lnTo>
                  <a:close/>
                  <a:moveTo>
                    <a:pt x="60" y="23"/>
                  </a:moveTo>
                  <a:cubicBezTo>
                    <a:pt x="53" y="23"/>
                    <a:pt x="53" y="23"/>
                    <a:pt x="53" y="23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66" y="9"/>
                    <a:pt x="66" y="9"/>
                    <a:pt x="66" y="9"/>
                  </a:cubicBezTo>
                  <a:lnTo>
                    <a:pt x="60" y="23"/>
                  </a:lnTo>
                  <a:close/>
                  <a:moveTo>
                    <a:pt x="115" y="21"/>
                  </a:moveTo>
                  <a:cubicBezTo>
                    <a:pt x="112" y="21"/>
                    <a:pt x="110" y="19"/>
                    <a:pt x="110" y="17"/>
                  </a:cubicBezTo>
                  <a:cubicBezTo>
                    <a:pt x="110" y="14"/>
                    <a:pt x="112" y="12"/>
                    <a:pt x="115" y="12"/>
                  </a:cubicBezTo>
                  <a:cubicBezTo>
                    <a:pt x="118" y="12"/>
                    <a:pt x="120" y="14"/>
                    <a:pt x="120" y="17"/>
                  </a:cubicBezTo>
                  <a:cubicBezTo>
                    <a:pt x="120" y="19"/>
                    <a:pt x="118" y="21"/>
                    <a:pt x="115" y="21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C13B2A74-3E9B-4413-A588-2145C946F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912" y="1017588"/>
              <a:ext cx="434975" cy="107950"/>
            </a:xfrm>
            <a:custGeom>
              <a:avLst/>
              <a:gdLst>
                <a:gd name="T0" fmla="*/ 220 w 274"/>
                <a:gd name="T1" fmla="*/ 0 h 68"/>
                <a:gd name="T2" fmla="*/ 55 w 274"/>
                <a:gd name="T3" fmla="*/ 0 h 68"/>
                <a:gd name="T4" fmla="*/ 0 w 274"/>
                <a:gd name="T5" fmla="*/ 68 h 68"/>
                <a:gd name="T6" fmla="*/ 274 w 274"/>
                <a:gd name="T7" fmla="*/ 68 h 68"/>
                <a:gd name="T8" fmla="*/ 220 w 274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4" h="68">
                  <a:moveTo>
                    <a:pt x="220" y="0"/>
                  </a:moveTo>
                  <a:lnTo>
                    <a:pt x="55" y="0"/>
                  </a:lnTo>
                  <a:lnTo>
                    <a:pt x="0" y="68"/>
                  </a:lnTo>
                  <a:lnTo>
                    <a:pt x="274" y="68"/>
                  </a:lnTo>
                  <a:lnTo>
                    <a:pt x="220" y="0"/>
                  </a:ln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9" name="Group 12503">
            <a:extLst>
              <a:ext uri="{FF2B5EF4-FFF2-40B4-BE49-F238E27FC236}">
                <a16:creationId xmlns:a16="http://schemas.microsoft.com/office/drawing/2014/main" id="{913BC038-037B-4989-BADE-D8C0DD239C2A}"/>
              </a:ext>
            </a:extLst>
          </p:cNvPr>
          <p:cNvGrpSpPr/>
          <p:nvPr userDrawn="1"/>
        </p:nvGrpSpPr>
        <p:grpSpPr>
          <a:xfrm>
            <a:off x="3420519" y="1181455"/>
            <a:ext cx="484788" cy="396887"/>
            <a:chOff x="3203575" y="1031875"/>
            <a:chExt cx="577850" cy="473075"/>
          </a:xfrm>
        </p:grpSpPr>
        <p:sp>
          <p:nvSpPr>
            <p:cNvPr id="30" name="Rectangle 27">
              <a:extLst>
                <a:ext uri="{FF2B5EF4-FFF2-40B4-BE49-F238E27FC236}">
                  <a16:creationId xmlns:a16="http://schemas.microsoft.com/office/drawing/2014/main" id="{3B3E6518-6B07-444B-9A98-356973835E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1837" y="1447800"/>
              <a:ext cx="112713" cy="57150"/>
            </a:xfrm>
            <a:prstGeom prst="rect">
              <a:avLst/>
            </a:pr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4264A869-A80C-4CCB-B31F-7F966E2533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712" y="1384300"/>
              <a:ext cx="160338" cy="120650"/>
            </a:xfrm>
            <a:custGeom>
              <a:avLst/>
              <a:gdLst>
                <a:gd name="T0" fmla="*/ 70 w 101"/>
                <a:gd name="T1" fmla="*/ 40 h 76"/>
                <a:gd name="T2" fmla="*/ 70 w 101"/>
                <a:gd name="T3" fmla="*/ 0 h 76"/>
                <a:gd name="T4" fmla="*/ 30 w 101"/>
                <a:gd name="T5" fmla="*/ 0 h 76"/>
                <a:gd name="T6" fmla="*/ 30 w 101"/>
                <a:gd name="T7" fmla="*/ 40 h 76"/>
                <a:gd name="T8" fmla="*/ 0 w 101"/>
                <a:gd name="T9" fmla="*/ 40 h 76"/>
                <a:gd name="T10" fmla="*/ 0 w 101"/>
                <a:gd name="T11" fmla="*/ 76 h 76"/>
                <a:gd name="T12" fmla="*/ 101 w 101"/>
                <a:gd name="T13" fmla="*/ 76 h 76"/>
                <a:gd name="T14" fmla="*/ 101 w 101"/>
                <a:gd name="T15" fmla="*/ 40 h 76"/>
                <a:gd name="T16" fmla="*/ 70 w 101"/>
                <a:gd name="T17" fmla="*/ 4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76">
                  <a:moveTo>
                    <a:pt x="70" y="40"/>
                  </a:moveTo>
                  <a:lnTo>
                    <a:pt x="70" y="0"/>
                  </a:lnTo>
                  <a:lnTo>
                    <a:pt x="30" y="0"/>
                  </a:lnTo>
                  <a:lnTo>
                    <a:pt x="30" y="40"/>
                  </a:lnTo>
                  <a:lnTo>
                    <a:pt x="0" y="40"/>
                  </a:lnTo>
                  <a:lnTo>
                    <a:pt x="0" y="76"/>
                  </a:lnTo>
                  <a:lnTo>
                    <a:pt x="101" y="76"/>
                  </a:lnTo>
                  <a:lnTo>
                    <a:pt x="101" y="40"/>
                  </a:lnTo>
                  <a:lnTo>
                    <a:pt x="70" y="40"/>
                  </a:ln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29">
              <a:extLst>
                <a:ext uri="{FF2B5EF4-FFF2-40B4-BE49-F238E27FC236}">
                  <a16:creationId xmlns:a16="http://schemas.microsoft.com/office/drawing/2014/main" id="{E272EF30-5940-45A2-A86C-E9D70A3E6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8500" y="1031875"/>
              <a:ext cx="512763" cy="131763"/>
            </a:xfrm>
            <a:custGeom>
              <a:avLst/>
              <a:gdLst>
                <a:gd name="T0" fmla="*/ 257 w 323"/>
                <a:gd name="T1" fmla="*/ 0 h 83"/>
                <a:gd name="T2" fmla="*/ 63 w 323"/>
                <a:gd name="T3" fmla="*/ 0 h 83"/>
                <a:gd name="T4" fmla="*/ 0 w 323"/>
                <a:gd name="T5" fmla="*/ 83 h 83"/>
                <a:gd name="T6" fmla="*/ 323 w 323"/>
                <a:gd name="T7" fmla="*/ 83 h 83"/>
                <a:gd name="T8" fmla="*/ 257 w 323"/>
                <a:gd name="T9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83">
                  <a:moveTo>
                    <a:pt x="257" y="0"/>
                  </a:moveTo>
                  <a:lnTo>
                    <a:pt x="63" y="0"/>
                  </a:lnTo>
                  <a:lnTo>
                    <a:pt x="0" y="83"/>
                  </a:lnTo>
                  <a:lnTo>
                    <a:pt x="323" y="83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Rectangle 30">
              <a:extLst>
                <a:ext uri="{FF2B5EF4-FFF2-40B4-BE49-F238E27FC236}">
                  <a16:creationId xmlns:a16="http://schemas.microsoft.com/office/drawing/2014/main" id="{24BF8F58-C415-45E4-8486-7B90A08F37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5212" y="1447800"/>
              <a:ext cx="112713" cy="57150"/>
            </a:xfrm>
            <a:prstGeom prst="rect">
              <a:avLst/>
            </a:pr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1225A0A-78D6-4147-B306-9C16108C4C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3575" y="1204913"/>
              <a:ext cx="577850" cy="142875"/>
            </a:xfrm>
            <a:custGeom>
              <a:avLst/>
              <a:gdLst>
                <a:gd name="T0" fmla="*/ 0 w 154"/>
                <a:gd name="T1" fmla="*/ 0 h 38"/>
                <a:gd name="T2" fmla="*/ 0 w 154"/>
                <a:gd name="T3" fmla="*/ 38 h 38"/>
                <a:gd name="T4" fmla="*/ 154 w 154"/>
                <a:gd name="T5" fmla="*/ 38 h 38"/>
                <a:gd name="T6" fmla="*/ 154 w 154"/>
                <a:gd name="T7" fmla="*/ 0 h 38"/>
                <a:gd name="T8" fmla="*/ 0 w 154"/>
                <a:gd name="T9" fmla="*/ 0 h 38"/>
                <a:gd name="T10" fmla="*/ 10 w 154"/>
                <a:gd name="T11" fmla="*/ 27 h 38"/>
                <a:gd name="T12" fmla="*/ 17 w 154"/>
                <a:gd name="T13" fmla="*/ 11 h 38"/>
                <a:gd name="T14" fmla="*/ 25 w 154"/>
                <a:gd name="T15" fmla="*/ 11 h 38"/>
                <a:gd name="T16" fmla="*/ 19 w 154"/>
                <a:gd name="T17" fmla="*/ 27 h 38"/>
                <a:gd name="T18" fmla="*/ 10 w 154"/>
                <a:gd name="T19" fmla="*/ 27 h 38"/>
                <a:gd name="T20" fmla="*/ 24 w 154"/>
                <a:gd name="T21" fmla="*/ 27 h 38"/>
                <a:gd name="T22" fmla="*/ 30 w 154"/>
                <a:gd name="T23" fmla="*/ 11 h 38"/>
                <a:gd name="T24" fmla="*/ 39 w 154"/>
                <a:gd name="T25" fmla="*/ 11 h 38"/>
                <a:gd name="T26" fmla="*/ 32 w 154"/>
                <a:gd name="T27" fmla="*/ 27 h 38"/>
                <a:gd name="T28" fmla="*/ 24 w 154"/>
                <a:gd name="T29" fmla="*/ 27 h 38"/>
                <a:gd name="T30" fmla="*/ 37 w 154"/>
                <a:gd name="T31" fmla="*/ 27 h 38"/>
                <a:gd name="T32" fmla="*/ 44 w 154"/>
                <a:gd name="T33" fmla="*/ 11 h 38"/>
                <a:gd name="T34" fmla="*/ 52 w 154"/>
                <a:gd name="T35" fmla="*/ 11 h 38"/>
                <a:gd name="T36" fmla="*/ 45 w 154"/>
                <a:gd name="T37" fmla="*/ 27 h 38"/>
                <a:gd name="T38" fmla="*/ 37 w 154"/>
                <a:gd name="T39" fmla="*/ 27 h 38"/>
                <a:gd name="T40" fmla="*/ 50 w 154"/>
                <a:gd name="T41" fmla="*/ 27 h 38"/>
                <a:gd name="T42" fmla="*/ 57 w 154"/>
                <a:gd name="T43" fmla="*/ 11 h 38"/>
                <a:gd name="T44" fmla="*/ 65 w 154"/>
                <a:gd name="T45" fmla="*/ 11 h 38"/>
                <a:gd name="T46" fmla="*/ 58 w 154"/>
                <a:gd name="T47" fmla="*/ 27 h 38"/>
                <a:gd name="T48" fmla="*/ 50 w 154"/>
                <a:gd name="T49" fmla="*/ 27 h 38"/>
                <a:gd name="T50" fmla="*/ 72 w 154"/>
                <a:gd name="T51" fmla="*/ 27 h 38"/>
                <a:gd name="T52" fmla="*/ 64 w 154"/>
                <a:gd name="T53" fmla="*/ 27 h 38"/>
                <a:gd name="T54" fmla="*/ 70 w 154"/>
                <a:gd name="T55" fmla="*/ 11 h 38"/>
                <a:gd name="T56" fmla="*/ 78 w 154"/>
                <a:gd name="T57" fmla="*/ 11 h 38"/>
                <a:gd name="T58" fmla="*/ 72 w 154"/>
                <a:gd name="T59" fmla="*/ 27 h 38"/>
                <a:gd name="T60" fmla="*/ 136 w 154"/>
                <a:gd name="T61" fmla="*/ 25 h 38"/>
                <a:gd name="T62" fmla="*/ 131 w 154"/>
                <a:gd name="T63" fmla="*/ 19 h 38"/>
                <a:gd name="T64" fmla="*/ 136 w 154"/>
                <a:gd name="T65" fmla="*/ 13 h 38"/>
                <a:gd name="T66" fmla="*/ 142 w 154"/>
                <a:gd name="T67" fmla="*/ 19 h 38"/>
                <a:gd name="T68" fmla="*/ 136 w 154"/>
                <a:gd name="T69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4" h="38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0"/>
                    <a:pt x="154" y="0"/>
                    <a:pt x="154" y="0"/>
                  </a:cubicBezTo>
                  <a:lnTo>
                    <a:pt x="0" y="0"/>
                  </a:lnTo>
                  <a:close/>
                  <a:moveTo>
                    <a:pt x="10" y="27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19" y="27"/>
                    <a:pt x="19" y="27"/>
                    <a:pt x="19" y="27"/>
                  </a:cubicBezTo>
                  <a:lnTo>
                    <a:pt x="10" y="27"/>
                  </a:lnTo>
                  <a:close/>
                  <a:moveTo>
                    <a:pt x="24" y="27"/>
                  </a:moveTo>
                  <a:cubicBezTo>
                    <a:pt x="30" y="11"/>
                    <a:pt x="30" y="11"/>
                    <a:pt x="30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2" y="27"/>
                    <a:pt x="32" y="27"/>
                    <a:pt x="32" y="27"/>
                  </a:cubicBezTo>
                  <a:lnTo>
                    <a:pt x="24" y="27"/>
                  </a:lnTo>
                  <a:close/>
                  <a:moveTo>
                    <a:pt x="37" y="27"/>
                  </a:moveTo>
                  <a:cubicBezTo>
                    <a:pt x="44" y="11"/>
                    <a:pt x="44" y="11"/>
                    <a:pt x="44" y="11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45" y="27"/>
                    <a:pt x="45" y="27"/>
                    <a:pt x="45" y="27"/>
                  </a:cubicBezTo>
                  <a:lnTo>
                    <a:pt x="37" y="27"/>
                  </a:lnTo>
                  <a:close/>
                  <a:moveTo>
                    <a:pt x="50" y="27"/>
                  </a:moveTo>
                  <a:cubicBezTo>
                    <a:pt x="57" y="11"/>
                    <a:pt x="57" y="11"/>
                    <a:pt x="57" y="11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58" y="27"/>
                    <a:pt x="58" y="27"/>
                    <a:pt x="58" y="27"/>
                  </a:cubicBezTo>
                  <a:lnTo>
                    <a:pt x="50" y="27"/>
                  </a:lnTo>
                  <a:close/>
                  <a:moveTo>
                    <a:pt x="72" y="27"/>
                  </a:moveTo>
                  <a:cubicBezTo>
                    <a:pt x="64" y="27"/>
                    <a:pt x="64" y="27"/>
                    <a:pt x="64" y="27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8" y="11"/>
                    <a:pt x="78" y="11"/>
                    <a:pt x="78" y="11"/>
                  </a:cubicBezTo>
                  <a:lnTo>
                    <a:pt x="72" y="27"/>
                  </a:lnTo>
                  <a:close/>
                  <a:moveTo>
                    <a:pt x="136" y="25"/>
                  </a:moveTo>
                  <a:cubicBezTo>
                    <a:pt x="133" y="25"/>
                    <a:pt x="131" y="22"/>
                    <a:pt x="131" y="19"/>
                  </a:cubicBezTo>
                  <a:cubicBezTo>
                    <a:pt x="131" y="16"/>
                    <a:pt x="133" y="13"/>
                    <a:pt x="136" y="13"/>
                  </a:cubicBezTo>
                  <a:cubicBezTo>
                    <a:pt x="139" y="13"/>
                    <a:pt x="142" y="16"/>
                    <a:pt x="142" y="19"/>
                  </a:cubicBezTo>
                  <a:cubicBezTo>
                    <a:pt x="142" y="22"/>
                    <a:pt x="139" y="25"/>
                    <a:pt x="136" y="25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5" name="Group 12502">
            <a:extLst>
              <a:ext uri="{FF2B5EF4-FFF2-40B4-BE49-F238E27FC236}">
                <a16:creationId xmlns:a16="http://schemas.microsoft.com/office/drawing/2014/main" id="{99B8BA38-C190-4071-8CB7-17E517F48A3E}"/>
              </a:ext>
            </a:extLst>
          </p:cNvPr>
          <p:cNvGrpSpPr/>
          <p:nvPr userDrawn="1"/>
        </p:nvGrpSpPr>
        <p:grpSpPr>
          <a:xfrm>
            <a:off x="4383102" y="1149707"/>
            <a:ext cx="378242" cy="475466"/>
            <a:chOff x="4332287" y="987425"/>
            <a:chExt cx="450850" cy="566738"/>
          </a:xfrm>
        </p:grpSpPr>
        <p:sp>
          <p:nvSpPr>
            <p:cNvPr id="36" name="Freeform 32">
              <a:extLst>
                <a:ext uri="{FF2B5EF4-FFF2-40B4-BE49-F238E27FC236}">
                  <a16:creationId xmlns:a16="http://schemas.microsoft.com/office/drawing/2014/main" id="{B365DBA9-0CE7-41B8-9785-AFFE097554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2287" y="987425"/>
              <a:ext cx="450850" cy="120650"/>
            </a:xfrm>
            <a:custGeom>
              <a:avLst/>
              <a:gdLst>
                <a:gd name="T0" fmla="*/ 114 w 120"/>
                <a:gd name="T1" fmla="*/ 0 h 32"/>
                <a:gd name="T2" fmla="*/ 6 w 120"/>
                <a:gd name="T3" fmla="*/ 0 h 32"/>
                <a:gd name="T4" fmla="*/ 0 w 120"/>
                <a:gd name="T5" fmla="*/ 5 h 32"/>
                <a:gd name="T6" fmla="*/ 0 w 120"/>
                <a:gd name="T7" fmla="*/ 26 h 32"/>
                <a:gd name="T8" fmla="*/ 6 w 120"/>
                <a:gd name="T9" fmla="*/ 32 h 32"/>
                <a:gd name="T10" fmla="*/ 114 w 120"/>
                <a:gd name="T11" fmla="*/ 32 h 32"/>
                <a:gd name="T12" fmla="*/ 120 w 120"/>
                <a:gd name="T13" fmla="*/ 26 h 32"/>
                <a:gd name="T14" fmla="*/ 120 w 120"/>
                <a:gd name="T15" fmla="*/ 5 h 32"/>
                <a:gd name="T16" fmla="*/ 114 w 120"/>
                <a:gd name="T17" fmla="*/ 0 h 32"/>
                <a:gd name="T18" fmla="*/ 9 w 120"/>
                <a:gd name="T19" fmla="*/ 12 h 32"/>
                <a:gd name="T20" fmla="*/ 5 w 120"/>
                <a:gd name="T21" fmla="*/ 8 h 32"/>
                <a:gd name="T22" fmla="*/ 9 w 120"/>
                <a:gd name="T23" fmla="*/ 4 h 32"/>
                <a:gd name="T24" fmla="*/ 12 w 120"/>
                <a:gd name="T25" fmla="*/ 8 h 32"/>
                <a:gd name="T26" fmla="*/ 9 w 120"/>
                <a:gd name="T27" fmla="*/ 12 h 32"/>
                <a:gd name="T28" fmla="*/ 35 w 120"/>
                <a:gd name="T29" fmla="*/ 27 h 32"/>
                <a:gd name="T30" fmla="*/ 20 w 120"/>
                <a:gd name="T31" fmla="*/ 27 h 32"/>
                <a:gd name="T32" fmla="*/ 18 w 120"/>
                <a:gd name="T33" fmla="*/ 25 h 32"/>
                <a:gd name="T34" fmla="*/ 20 w 120"/>
                <a:gd name="T35" fmla="*/ 23 h 32"/>
                <a:gd name="T36" fmla="*/ 35 w 120"/>
                <a:gd name="T37" fmla="*/ 23 h 32"/>
                <a:gd name="T38" fmla="*/ 37 w 120"/>
                <a:gd name="T39" fmla="*/ 25 h 32"/>
                <a:gd name="T40" fmla="*/ 35 w 120"/>
                <a:gd name="T41" fmla="*/ 27 h 32"/>
                <a:gd name="T42" fmla="*/ 60 w 120"/>
                <a:gd name="T43" fmla="*/ 27 h 32"/>
                <a:gd name="T44" fmla="*/ 45 w 120"/>
                <a:gd name="T45" fmla="*/ 27 h 32"/>
                <a:gd name="T46" fmla="*/ 43 w 120"/>
                <a:gd name="T47" fmla="*/ 25 h 32"/>
                <a:gd name="T48" fmla="*/ 45 w 120"/>
                <a:gd name="T49" fmla="*/ 23 h 32"/>
                <a:gd name="T50" fmla="*/ 60 w 120"/>
                <a:gd name="T51" fmla="*/ 23 h 32"/>
                <a:gd name="T52" fmla="*/ 62 w 120"/>
                <a:gd name="T53" fmla="*/ 25 h 32"/>
                <a:gd name="T54" fmla="*/ 60 w 120"/>
                <a:gd name="T55" fmla="*/ 27 h 32"/>
                <a:gd name="T56" fmla="*/ 85 w 120"/>
                <a:gd name="T57" fmla="*/ 27 h 32"/>
                <a:gd name="T58" fmla="*/ 70 w 120"/>
                <a:gd name="T59" fmla="*/ 27 h 32"/>
                <a:gd name="T60" fmla="*/ 68 w 120"/>
                <a:gd name="T61" fmla="*/ 25 h 32"/>
                <a:gd name="T62" fmla="*/ 70 w 120"/>
                <a:gd name="T63" fmla="*/ 23 h 32"/>
                <a:gd name="T64" fmla="*/ 85 w 120"/>
                <a:gd name="T65" fmla="*/ 23 h 32"/>
                <a:gd name="T66" fmla="*/ 87 w 120"/>
                <a:gd name="T67" fmla="*/ 25 h 32"/>
                <a:gd name="T68" fmla="*/ 85 w 120"/>
                <a:gd name="T69" fmla="*/ 27 h 32"/>
                <a:gd name="T70" fmla="*/ 110 w 120"/>
                <a:gd name="T71" fmla="*/ 27 h 32"/>
                <a:gd name="T72" fmla="*/ 95 w 120"/>
                <a:gd name="T73" fmla="*/ 27 h 32"/>
                <a:gd name="T74" fmla="*/ 93 w 120"/>
                <a:gd name="T75" fmla="*/ 25 h 32"/>
                <a:gd name="T76" fmla="*/ 95 w 120"/>
                <a:gd name="T77" fmla="*/ 23 h 32"/>
                <a:gd name="T78" fmla="*/ 110 w 120"/>
                <a:gd name="T79" fmla="*/ 23 h 32"/>
                <a:gd name="T80" fmla="*/ 112 w 120"/>
                <a:gd name="T81" fmla="*/ 25 h 32"/>
                <a:gd name="T82" fmla="*/ 110 w 120"/>
                <a:gd name="T83" fmla="*/ 2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32">
                  <a:moveTo>
                    <a:pt x="11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9"/>
                    <a:pt x="3" y="32"/>
                    <a:pt x="6" y="32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7" y="32"/>
                    <a:pt x="120" y="29"/>
                    <a:pt x="120" y="26"/>
                  </a:cubicBezTo>
                  <a:cubicBezTo>
                    <a:pt x="120" y="5"/>
                    <a:pt x="120" y="5"/>
                    <a:pt x="120" y="5"/>
                  </a:cubicBezTo>
                  <a:cubicBezTo>
                    <a:pt x="120" y="2"/>
                    <a:pt x="117" y="0"/>
                    <a:pt x="114" y="0"/>
                  </a:cubicBezTo>
                  <a:close/>
                  <a:moveTo>
                    <a:pt x="9" y="12"/>
                  </a:moveTo>
                  <a:cubicBezTo>
                    <a:pt x="7" y="12"/>
                    <a:pt x="5" y="10"/>
                    <a:pt x="5" y="8"/>
                  </a:cubicBezTo>
                  <a:cubicBezTo>
                    <a:pt x="5" y="6"/>
                    <a:pt x="7" y="4"/>
                    <a:pt x="9" y="4"/>
                  </a:cubicBezTo>
                  <a:cubicBezTo>
                    <a:pt x="11" y="4"/>
                    <a:pt x="12" y="6"/>
                    <a:pt x="12" y="8"/>
                  </a:cubicBezTo>
                  <a:cubicBezTo>
                    <a:pt x="12" y="10"/>
                    <a:pt x="11" y="12"/>
                    <a:pt x="9" y="12"/>
                  </a:cubicBezTo>
                  <a:close/>
                  <a:moveTo>
                    <a:pt x="35" y="27"/>
                  </a:moveTo>
                  <a:cubicBezTo>
                    <a:pt x="20" y="27"/>
                    <a:pt x="20" y="27"/>
                    <a:pt x="20" y="27"/>
                  </a:cubicBezTo>
                  <a:cubicBezTo>
                    <a:pt x="19" y="27"/>
                    <a:pt x="18" y="26"/>
                    <a:pt x="18" y="25"/>
                  </a:cubicBezTo>
                  <a:cubicBezTo>
                    <a:pt x="18" y="24"/>
                    <a:pt x="19" y="23"/>
                    <a:pt x="20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6" y="23"/>
                    <a:pt x="37" y="24"/>
                    <a:pt x="37" y="25"/>
                  </a:cubicBezTo>
                  <a:cubicBezTo>
                    <a:pt x="37" y="26"/>
                    <a:pt x="36" y="27"/>
                    <a:pt x="35" y="27"/>
                  </a:cubicBezTo>
                  <a:close/>
                  <a:moveTo>
                    <a:pt x="60" y="27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44" y="27"/>
                    <a:pt x="43" y="26"/>
                    <a:pt x="43" y="25"/>
                  </a:cubicBezTo>
                  <a:cubicBezTo>
                    <a:pt x="43" y="24"/>
                    <a:pt x="44" y="23"/>
                    <a:pt x="45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1" y="23"/>
                    <a:pt x="62" y="24"/>
                    <a:pt x="62" y="25"/>
                  </a:cubicBezTo>
                  <a:cubicBezTo>
                    <a:pt x="62" y="26"/>
                    <a:pt x="61" y="27"/>
                    <a:pt x="60" y="27"/>
                  </a:cubicBezTo>
                  <a:close/>
                  <a:moveTo>
                    <a:pt x="85" y="27"/>
                  </a:moveTo>
                  <a:cubicBezTo>
                    <a:pt x="70" y="27"/>
                    <a:pt x="70" y="27"/>
                    <a:pt x="70" y="27"/>
                  </a:cubicBezTo>
                  <a:cubicBezTo>
                    <a:pt x="69" y="27"/>
                    <a:pt x="68" y="26"/>
                    <a:pt x="68" y="25"/>
                  </a:cubicBezTo>
                  <a:cubicBezTo>
                    <a:pt x="68" y="24"/>
                    <a:pt x="69" y="23"/>
                    <a:pt x="70" y="23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6" y="23"/>
                    <a:pt x="87" y="24"/>
                    <a:pt x="87" y="25"/>
                  </a:cubicBezTo>
                  <a:cubicBezTo>
                    <a:pt x="87" y="26"/>
                    <a:pt x="86" y="27"/>
                    <a:pt x="85" y="27"/>
                  </a:cubicBezTo>
                  <a:close/>
                  <a:moveTo>
                    <a:pt x="110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4" y="27"/>
                    <a:pt x="93" y="26"/>
                    <a:pt x="93" y="25"/>
                  </a:cubicBezTo>
                  <a:cubicBezTo>
                    <a:pt x="93" y="24"/>
                    <a:pt x="94" y="23"/>
                    <a:pt x="95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1" y="23"/>
                    <a:pt x="112" y="24"/>
                    <a:pt x="112" y="25"/>
                  </a:cubicBezTo>
                  <a:cubicBezTo>
                    <a:pt x="112" y="26"/>
                    <a:pt x="111" y="27"/>
                    <a:pt x="110" y="27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33">
              <a:extLst>
                <a:ext uri="{FF2B5EF4-FFF2-40B4-BE49-F238E27FC236}">
                  <a16:creationId xmlns:a16="http://schemas.microsoft.com/office/drawing/2014/main" id="{249B5345-8EE8-4D19-9469-F7D44E4314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2287" y="1136650"/>
              <a:ext cx="450850" cy="120650"/>
            </a:xfrm>
            <a:custGeom>
              <a:avLst/>
              <a:gdLst>
                <a:gd name="T0" fmla="*/ 114 w 120"/>
                <a:gd name="T1" fmla="*/ 0 h 32"/>
                <a:gd name="T2" fmla="*/ 6 w 120"/>
                <a:gd name="T3" fmla="*/ 0 h 32"/>
                <a:gd name="T4" fmla="*/ 0 w 120"/>
                <a:gd name="T5" fmla="*/ 5 h 32"/>
                <a:gd name="T6" fmla="*/ 0 w 120"/>
                <a:gd name="T7" fmla="*/ 26 h 32"/>
                <a:gd name="T8" fmla="*/ 6 w 120"/>
                <a:gd name="T9" fmla="*/ 32 h 32"/>
                <a:gd name="T10" fmla="*/ 114 w 120"/>
                <a:gd name="T11" fmla="*/ 32 h 32"/>
                <a:gd name="T12" fmla="*/ 120 w 120"/>
                <a:gd name="T13" fmla="*/ 26 h 32"/>
                <a:gd name="T14" fmla="*/ 120 w 120"/>
                <a:gd name="T15" fmla="*/ 5 h 32"/>
                <a:gd name="T16" fmla="*/ 114 w 120"/>
                <a:gd name="T17" fmla="*/ 0 h 32"/>
                <a:gd name="T18" fmla="*/ 9 w 120"/>
                <a:gd name="T19" fmla="*/ 12 h 32"/>
                <a:gd name="T20" fmla="*/ 5 w 120"/>
                <a:gd name="T21" fmla="*/ 8 h 32"/>
                <a:gd name="T22" fmla="*/ 9 w 120"/>
                <a:gd name="T23" fmla="*/ 4 h 32"/>
                <a:gd name="T24" fmla="*/ 12 w 120"/>
                <a:gd name="T25" fmla="*/ 8 h 32"/>
                <a:gd name="T26" fmla="*/ 9 w 120"/>
                <a:gd name="T27" fmla="*/ 12 h 32"/>
                <a:gd name="T28" fmla="*/ 35 w 120"/>
                <a:gd name="T29" fmla="*/ 27 h 32"/>
                <a:gd name="T30" fmla="*/ 20 w 120"/>
                <a:gd name="T31" fmla="*/ 27 h 32"/>
                <a:gd name="T32" fmla="*/ 18 w 120"/>
                <a:gd name="T33" fmla="*/ 25 h 32"/>
                <a:gd name="T34" fmla="*/ 20 w 120"/>
                <a:gd name="T35" fmla="*/ 23 h 32"/>
                <a:gd name="T36" fmla="*/ 35 w 120"/>
                <a:gd name="T37" fmla="*/ 23 h 32"/>
                <a:gd name="T38" fmla="*/ 37 w 120"/>
                <a:gd name="T39" fmla="*/ 25 h 32"/>
                <a:gd name="T40" fmla="*/ 35 w 120"/>
                <a:gd name="T41" fmla="*/ 27 h 32"/>
                <a:gd name="T42" fmla="*/ 60 w 120"/>
                <a:gd name="T43" fmla="*/ 27 h 32"/>
                <a:gd name="T44" fmla="*/ 45 w 120"/>
                <a:gd name="T45" fmla="*/ 27 h 32"/>
                <a:gd name="T46" fmla="*/ 43 w 120"/>
                <a:gd name="T47" fmla="*/ 25 h 32"/>
                <a:gd name="T48" fmla="*/ 45 w 120"/>
                <a:gd name="T49" fmla="*/ 23 h 32"/>
                <a:gd name="T50" fmla="*/ 60 w 120"/>
                <a:gd name="T51" fmla="*/ 23 h 32"/>
                <a:gd name="T52" fmla="*/ 62 w 120"/>
                <a:gd name="T53" fmla="*/ 25 h 32"/>
                <a:gd name="T54" fmla="*/ 60 w 120"/>
                <a:gd name="T55" fmla="*/ 27 h 32"/>
                <a:gd name="T56" fmla="*/ 85 w 120"/>
                <a:gd name="T57" fmla="*/ 27 h 32"/>
                <a:gd name="T58" fmla="*/ 70 w 120"/>
                <a:gd name="T59" fmla="*/ 27 h 32"/>
                <a:gd name="T60" fmla="*/ 68 w 120"/>
                <a:gd name="T61" fmla="*/ 25 h 32"/>
                <a:gd name="T62" fmla="*/ 70 w 120"/>
                <a:gd name="T63" fmla="*/ 23 h 32"/>
                <a:gd name="T64" fmla="*/ 85 w 120"/>
                <a:gd name="T65" fmla="*/ 23 h 32"/>
                <a:gd name="T66" fmla="*/ 87 w 120"/>
                <a:gd name="T67" fmla="*/ 25 h 32"/>
                <a:gd name="T68" fmla="*/ 85 w 120"/>
                <a:gd name="T69" fmla="*/ 27 h 32"/>
                <a:gd name="T70" fmla="*/ 110 w 120"/>
                <a:gd name="T71" fmla="*/ 27 h 32"/>
                <a:gd name="T72" fmla="*/ 95 w 120"/>
                <a:gd name="T73" fmla="*/ 27 h 32"/>
                <a:gd name="T74" fmla="*/ 93 w 120"/>
                <a:gd name="T75" fmla="*/ 25 h 32"/>
                <a:gd name="T76" fmla="*/ 95 w 120"/>
                <a:gd name="T77" fmla="*/ 23 h 32"/>
                <a:gd name="T78" fmla="*/ 110 w 120"/>
                <a:gd name="T79" fmla="*/ 23 h 32"/>
                <a:gd name="T80" fmla="*/ 112 w 120"/>
                <a:gd name="T81" fmla="*/ 25 h 32"/>
                <a:gd name="T82" fmla="*/ 110 w 120"/>
                <a:gd name="T83" fmla="*/ 2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32">
                  <a:moveTo>
                    <a:pt x="11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9"/>
                    <a:pt x="3" y="32"/>
                    <a:pt x="6" y="32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7" y="32"/>
                    <a:pt x="120" y="29"/>
                    <a:pt x="120" y="26"/>
                  </a:cubicBezTo>
                  <a:cubicBezTo>
                    <a:pt x="120" y="5"/>
                    <a:pt x="120" y="5"/>
                    <a:pt x="120" y="5"/>
                  </a:cubicBezTo>
                  <a:cubicBezTo>
                    <a:pt x="120" y="2"/>
                    <a:pt x="117" y="0"/>
                    <a:pt x="114" y="0"/>
                  </a:cubicBezTo>
                  <a:close/>
                  <a:moveTo>
                    <a:pt x="9" y="12"/>
                  </a:moveTo>
                  <a:cubicBezTo>
                    <a:pt x="7" y="12"/>
                    <a:pt x="5" y="10"/>
                    <a:pt x="5" y="8"/>
                  </a:cubicBezTo>
                  <a:cubicBezTo>
                    <a:pt x="5" y="6"/>
                    <a:pt x="7" y="4"/>
                    <a:pt x="9" y="4"/>
                  </a:cubicBezTo>
                  <a:cubicBezTo>
                    <a:pt x="11" y="4"/>
                    <a:pt x="12" y="6"/>
                    <a:pt x="12" y="8"/>
                  </a:cubicBezTo>
                  <a:cubicBezTo>
                    <a:pt x="12" y="10"/>
                    <a:pt x="11" y="12"/>
                    <a:pt x="9" y="12"/>
                  </a:cubicBezTo>
                  <a:close/>
                  <a:moveTo>
                    <a:pt x="35" y="27"/>
                  </a:moveTo>
                  <a:cubicBezTo>
                    <a:pt x="20" y="27"/>
                    <a:pt x="20" y="27"/>
                    <a:pt x="20" y="27"/>
                  </a:cubicBezTo>
                  <a:cubicBezTo>
                    <a:pt x="19" y="27"/>
                    <a:pt x="18" y="26"/>
                    <a:pt x="18" y="25"/>
                  </a:cubicBezTo>
                  <a:cubicBezTo>
                    <a:pt x="18" y="24"/>
                    <a:pt x="19" y="23"/>
                    <a:pt x="20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6" y="23"/>
                    <a:pt x="37" y="24"/>
                    <a:pt x="37" y="25"/>
                  </a:cubicBezTo>
                  <a:cubicBezTo>
                    <a:pt x="37" y="26"/>
                    <a:pt x="36" y="27"/>
                    <a:pt x="35" y="27"/>
                  </a:cubicBezTo>
                  <a:close/>
                  <a:moveTo>
                    <a:pt x="60" y="27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44" y="27"/>
                    <a:pt x="43" y="26"/>
                    <a:pt x="43" y="25"/>
                  </a:cubicBezTo>
                  <a:cubicBezTo>
                    <a:pt x="43" y="24"/>
                    <a:pt x="44" y="23"/>
                    <a:pt x="45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1" y="23"/>
                    <a:pt x="62" y="24"/>
                    <a:pt x="62" y="25"/>
                  </a:cubicBezTo>
                  <a:cubicBezTo>
                    <a:pt x="62" y="26"/>
                    <a:pt x="61" y="27"/>
                    <a:pt x="60" y="27"/>
                  </a:cubicBezTo>
                  <a:close/>
                  <a:moveTo>
                    <a:pt x="85" y="27"/>
                  </a:moveTo>
                  <a:cubicBezTo>
                    <a:pt x="70" y="27"/>
                    <a:pt x="70" y="27"/>
                    <a:pt x="70" y="27"/>
                  </a:cubicBezTo>
                  <a:cubicBezTo>
                    <a:pt x="69" y="27"/>
                    <a:pt x="68" y="26"/>
                    <a:pt x="68" y="25"/>
                  </a:cubicBezTo>
                  <a:cubicBezTo>
                    <a:pt x="68" y="24"/>
                    <a:pt x="69" y="23"/>
                    <a:pt x="70" y="23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6" y="23"/>
                    <a:pt x="87" y="24"/>
                    <a:pt x="87" y="25"/>
                  </a:cubicBezTo>
                  <a:cubicBezTo>
                    <a:pt x="87" y="26"/>
                    <a:pt x="86" y="27"/>
                    <a:pt x="85" y="27"/>
                  </a:cubicBezTo>
                  <a:close/>
                  <a:moveTo>
                    <a:pt x="110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4" y="27"/>
                    <a:pt x="93" y="26"/>
                    <a:pt x="93" y="25"/>
                  </a:cubicBezTo>
                  <a:cubicBezTo>
                    <a:pt x="93" y="24"/>
                    <a:pt x="94" y="23"/>
                    <a:pt x="95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1" y="23"/>
                    <a:pt x="112" y="24"/>
                    <a:pt x="112" y="25"/>
                  </a:cubicBezTo>
                  <a:cubicBezTo>
                    <a:pt x="112" y="26"/>
                    <a:pt x="111" y="27"/>
                    <a:pt x="110" y="27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34">
              <a:extLst>
                <a:ext uri="{FF2B5EF4-FFF2-40B4-BE49-F238E27FC236}">
                  <a16:creationId xmlns:a16="http://schemas.microsoft.com/office/drawing/2014/main" id="{A4138BFC-45BE-4D9F-ABF5-F64C7DBA1C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2287" y="1284288"/>
              <a:ext cx="450850" cy="119063"/>
            </a:xfrm>
            <a:custGeom>
              <a:avLst/>
              <a:gdLst>
                <a:gd name="T0" fmla="*/ 114 w 120"/>
                <a:gd name="T1" fmla="*/ 0 h 32"/>
                <a:gd name="T2" fmla="*/ 6 w 120"/>
                <a:gd name="T3" fmla="*/ 0 h 32"/>
                <a:gd name="T4" fmla="*/ 0 w 120"/>
                <a:gd name="T5" fmla="*/ 6 h 32"/>
                <a:gd name="T6" fmla="*/ 0 w 120"/>
                <a:gd name="T7" fmla="*/ 27 h 32"/>
                <a:gd name="T8" fmla="*/ 6 w 120"/>
                <a:gd name="T9" fmla="*/ 32 h 32"/>
                <a:gd name="T10" fmla="*/ 114 w 120"/>
                <a:gd name="T11" fmla="*/ 32 h 32"/>
                <a:gd name="T12" fmla="*/ 120 w 120"/>
                <a:gd name="T13" fmla="*/ 27 h 32"/>
                <a:gd name="T14" fmla="*/ 120 w 120"/>
                <a:gd name="T15" fmla="*/ 6 h 32"/>
                <a:gd name="T16" fmla="*/ 114 w 120"/>
                <a:gd name="T17" fmla="*/ 0 h 32"/>
                <a:gd name="T18" fmla="*/ 9 w 120"/>
                <a:gd name="T19" fmla="*/ 12 h 32"/>
                <a:gd name="T20" fmla="*/ 5 w 120"/>
                <a:gd name="T21" fmla="*/ 8 h 32"/>
                <a:gd name="T22" fmla="*/ 9 w 120"/>
                <a:gd name="T23" fmla="*/ 5 h 32"/>
                <a:gd name="T24" fmla="*/ 12 w 120"/>
                <a:gd name="T25" fmla="*/ 8 h 32"/>
                <a:gd name="T26" fmla="*/ 9 w 120"/>
                <a:gd name="T27" fmla="*/ 12 h 32"/>
                <a:gd name="T28" fmla="*/ 35 w 120"/>
                <a:gd name="T29" fmla="*/ 27 h 32"/>
                <a:gd name="T30" fmla="*/ 20 w 120"/>
                <a:gd name="T31" fmla="*/ 27 h 32"/>
                <a:gd name="T32" fmla="*/ 18 w 120"/>
                <a:gd name="T33" fmla="*/ 25 h 32"/>
                <a:gd name="T34" fmla="*/ 20 w 120"/>
                <a:gd name="T35" fmla="*/ 23 h 32"/>
                <a:gd name="T36" fmla="*/ 35 w 120"/>
                <a:gd name="T37" fmla="*/ 23 h 32"/>
                <a:gd name="T38" fmla="*/ 37 w 120"/>
                <a:gd name="T39" fmla="*/ 25 h 32"/>
                <a:gd name="T40" fmla="*/ 35 w 120"/>
                <a:gd name="T41" fmla="*/ 27 h 32"/>
                <a:gd name="T42" fmla="*/ 60 w 120"/>
                <a:gd name="T43" fmla="*/ 27 h 32"/>
                <a:gd name="T44" fmla="*/ 45 w 120"/>
                <a:gd name="T45" fmla="*/ 27 h 32"/>
                <a:gd name="T46" fmla="*/ 43 w 120"/>
                <a:gd name="T47" fmla="*/ 25 h 32"/>
                <a:gd name="T48" fmla="*/ 45 w 120"/>
                <a:gd name="T49" fmla="*/ 23 h 32"/>
                <a:gd name="T50" fmla="*/ 60 w 120"/>
                <a:gd name="T51" fmla="*/ 23 h 32"/>
                <a:gd name="T52" fmla="*/ 62 w 120"/>
                <a:gd name="T53" fmla="*/ 25 h 32"/>
                <a:gd name="T54" fmla="*/ 60 w 120"/>
                <a:gd name="T55" fmla="*/ 27 h 32"/>
                <a:gd name="T56" fmla="*/ 85 w 120"/>
                <a:gd name="T57" fmla="*/ 27 h 32"/>
                <a:gd name="T58" fmla="*/ 70 w 120"/>
                <a:gd name="T59" fmla="*/ 27 h 32"/>
                <a:gd name="T60" fmla="*/ 68 w 120"/>
                <a:gd name="T61" fmla="*/ 25 h 32"/>
                <a:gd name="T62" fmla="*/ 70 w 120"/>
                <a:gd name="T63" fmla="*/ 23 h 32"/>
                <a:gd name="T64" fmla="*/ 85 w 120"/>
                <a:gd name="T65" fmla="*/ 23 h 32"/>
                <a:gd name="T66" fmla="*/ 87 w 120"/>
                <a:gd name="T67" fmla="*/ 25 h 32"/>
                <a:gd name="T68" fmla="*/ 85 w 120"/>
                <a:gd name="T69" fmla="*/ 27 h 32"/>
                <a:gd name="T70" fmla="*/ 110 w 120"/>
                <a:gd name="T71" fmla="*/ 27 h 32"/>
                <a:gd name="T72" fmla="*/ 95 w 120"/>
                <a:gd name="T73" fmla="*/ 27 h 32"/>
                <a:gd name="T74" fmla="*/ 93 w 120"/>
                <a:gd name="T75" fmla="*/ 25 h 32"/>
                <a:gd name="T76" fmla="*/ 95 w 120"/>
                <a:gd name="T77" fmla="*/ 23 h 32"/>
                <a:gd name="T78" fmla="*/ 110 w 120"/>
                <a:gd name="T79" fmla="*/ 23 h 32"/>
                <a:gd name="T80" fmla="*/ 112 w 120"/>
                <a:gd name="T81" fmla="*/ 25 h 32"/>
                <a:gd name="T82" fmla="*/ 110 w 120"/>
                <a:gd name="T83" fmla="*/ 2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32">
                  <a:moveTo>
                    <a:pt x="11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3" y="32"/>
                    <a:pt x="6" y="32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7" y="32"/>
                    <a:pt x="120" y="30"/>
                    <a:pt x="120" y="27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3"/>
                    <a:pt x="117" y="0"/>
                    <a:pt x="114" y="0"/>
                  </a:cubicBezTo>
                  <a:close/>
                  <a:moveTo>
                    <a:pt x="9" y="12"/>
                  </a:moveTo>
                  <a:cubicBezTo>
                    <a:pt x="7" y="12"/>
                    <a:pt x="5" y="10"/>
                    <a:pt x="5" y="8"/>
                  </a:cubicBezTo>
                  <a:cubicBezTo>
                    <a:pt x="5" y="6"/>
                    <a:pt x="7" y="5"/>
                    <a:pt x="9" y="5"/>
                  </a:cubicBezTo>
                  <a:cubicBezTo>
                    <a:pt x="11" y="5"/>
                    <a:pt x="12" y="6"/>
                    <a:pt x="12" y="8"/>
                  </a:cubicBezTo>
                  <a:cubicBezTo>
                    <a:pt x="12" y="10"/>
                    <a:pt x="11" y="12"/>
                    <a:pt x="9" y="12"/>
                  </a:cubicBezTo>
                  <a:close/>
                  <a:moveTo>
                    <a:pt x="35" y="27"/>
                  </a:moveTo>
                  <a:cubicBezTo>
                    <a:pt x="20" y="27"/>
                    <a:pt x="20" y="27"/>
                    <a:pt x="20" y="27"/>
                  </a:cubicBezTo>
                  <a:cubicBezTo>
                    <a:pt x="19" y="27"/>
                    <a:pt x="18" y="26"/>
                    <a:pt x="18" y="25"/>
                  </a:cubicBezTo>
                  <a:cubicBezTo>
                    <a:pt x="18" y="24"/>
                    <a:pt x="19" y="23"/>
                    <a:pt x="20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6" y="23"/>
                    <a:pt x="37" y="24"/>
                    <a:pt x="37" y="25"/>
                  </a:cubicBezTo>
                  <a:cubicBezTo>
                    <a:pt x="37" y="26"/>
                    <a:pt x="36" y="27"/>
                    <a:pt x="35" y="27"/>
                  </a:cubicBezTo>
                  <a:close/>
                  <a:moveTo>
                    <a:pt x="60" y="27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44" y="27"/>
                    <a:pt x="43" y="26"/>
                    <a:pt x="43" y="25"/>
                  </a:cubicBezTo>
                  <a:cubicBezTo>
                    <a:pt x="43" y="24"/>
                    <a:pt x="44" y="23"/>
                    <a:pt x="45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1" y="23"/>
                    <a:pt x="62" y="24"/>
                    <a:pt x="62" y="25"/>
                  </a:cubicBezTo>
                  <a:cubicBezTo>
                    <a:pt x="62" y="26"/>
                    <a:pt x="61" y="27"/>
                    <a:pt x="60" y="27"/>
                  </a:cubicBezTo>
                  <a:close/>
                  <a:moveTo>
                    <a:pt x="85" y="27"/>
                  </a:moveTo>
                  <a:cubicBezTo>
                    <a:pt x="70" y="27"/>
                    <a:pt x="70" y="27"/>
                    <a:pt x="70" y="27"/>
                  </a:cubicBezTo>
                  <a:cubicBezTo>
                    <a:pt x="69" y="27"/>
                    <a:pt x="68" y="26"/>
                    <a:pt x="68" y="25"/>
                  </a:cubicBezTo>
                  <a:cubicBezTo>
                    <a:pt x="68" y="24"/>
                    <a:pt x="69" y="23"/>
                    <a:pt x="70" y="23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6" y="23"/>
                    <a:pt x="87" y="24"/>
                    <a:pt x="87" y="25"/>
                  </a:cubicBezTo>
                  <a:cubicBezTo>
                    <a:pt x="87" y="26"/>
                    <a:pt x="86" y="27"/>
                    <a:pt x="85" y="27"/>
                  </a:cubicBezTo>
                  <a:close/>
                  <a:moveTo>
                    <a:pt x="110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4" y="27"/>
                    <a:pt x="93" y="26"/>
                    <a:pt x="93" y="25"/>
                  </a:cubicBezTo>
                  <a:cubicBezTo>
                    <a:pt x="93" y="24"/>
                    <a:pt x="94" y="23"/>
                    <a:pt x="95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1" y="23"/>
                    <a:pt x="112" y="24"/>
                    <a:pt x="112" y="25"/>
                  </a:cubicBezTo>
                  <a:cubicBezTo>
                    <a:pt x="112" y="26"/>
                    <a:pt x="111" y="27"/>
                    <a:pt x="110" y="27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35">
              <a:extLst>
                <a:ext uri="{FF2B5EF4-FFF2-40B4-BE49-F238E27FC236}">
                  <a16:creationId xmlns:a16="http://schemas.microsoft.com/office/drawing/2014/main" id="{A88DA480-3F8B-4E44-AFF0-FCD345D051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2287" y="1433513"/>
              <a:ext cx="450850" cy="120650"/>
            </a:xfrm>
            <a:custGeom>
              <a:avLst/>
              <a:gdLst>
                <a:gd name="T0" fmla="*/ 114 w 120"/>
                <a:gd name="T1" fmla="*/ 0 h 32"/>
                <a:gd name="T2" fmla="*/ 6 w 120"/>
                <a:gd name="T3" fmla="*/ 0 h 32"/>
                <a:gd name="T4" fmla="*/ 0 w 120"/>
                <a:gd name="T5" fmla="*/ 6 h 32"/>
                <a:gd name="T6" fmla="*/ 0 w 120"/>
                <a:gd name="T7" fmla="*/ 26 h 32"/>
                <a:gd name="T8" fmla="*/ 6 w 120"/>
                <a:gd name="T9" fmla="*/ 32 h 32"/>
                <a:gd name="T10" fmla="*/ 114 w 120"/>
                <a:gd name="T11" fmla="*/ 32 h 32"/>
                <a:gd name="T12" fmla="*/ 120 w 120"/>
                <a:gd name="T13" fmla="*/ 26 h 32"/>
                <a:gd name="T14" fmla="*/ 120 w 120"/>
                <a:gd name="T15" fmla="*/ 6 h 32"/>
                <a:gd name="T16" fmla="*/ 114 w 120"/>
                <a:gd name="T17" fmla="*/ 0 h 32"/>
                <a:gd name="T18" fmla="*/ 9 w 120"/>
                <a:gd name="T19" fmla="*/ 12 h 32"/>
                <a:gd name="T20" fmla="*/ 5 w 120"/>
                <a:gd name="T21" fmla="*/ 8 h 32"/>
                <a:gd name="T22" fmla="*/ 9 w 120"/>
                <a:gd name="T23" fmla="*/ 5 h 32"/>
                <a:gd name="T24" fmla="*/ 12 w 120"/>
                <a:gd name="T25" fmla="*/ 8 h 32"/>
                <a:gd name="T26" fmla="*/ 9 w 120"/>
                <a:gd name="T27" fmla="*/ 12 h 32"/>
                <a:gd name="T28" fmla="*/ 35 w 120"/>
                <a:gd name="T29" fmla="*/ 27 h 32"/>
                <a:gd name="T30" fmla="*/ 20 w 120"/>
                <a:gd name="T31" fmla="*/ 27 h 32"/>
                <a:gd name="T32" fmla="*/ 18 w 120"/>
                <a:gd name="T33" fmla="*/ 25 h 32"/>
                <a:gd name="T34" fmla="*/ 20 w 120"/>
                <a:gd name="T35" fmla="*/ 23 h 32"/>
                <a:gd name="T36" fmla="*/ 35 w 120"/>
                <a:gd name="T37" fmla="*/ 23 h 32"/>
                <a:gd name="T38" fmla="*/ 37 w 120"/>
                <a:gd name="T39" fmla="*/ 25 h 32"/>
                <a:gd name="T40" fmla="*/ 35 w 120"/>
                <a:gd name="T41" fmla="*/ 27 h 32"/>
                <a:gd name="T42" fmla="*/ 60 w 120"/>
                <a:gd name="T43" fmla="*/ 27 h 32"/>
                <a:gd name="T44" fmla="*/ 45 w 120"/>
                <a:gd name="T45" fmla="*/ 27 h 32"/>
                <a:gd name="T46" fmla="*/ 43 w 120"/>
                <a:gd name="T47" fmla="*/ 25 h 32"/>
                <a:gd name="T48" fmla="*/ 45 w 120"/>
                <a:gd name="T49" fmla="*/ 23 h 32"/>
                <a:gd name="T50" fmla="*/ 60 w 120"/>
                <a:gd name="T51" fmla="*/ 23 h 32"/>
                <a:gd name="T52" fmla="*/ 62 w 120"/>
                <a:gd name="T53" fmla="*/ 25 h 32"/>
                <a:gd name="T54" fmla="*/ 60 w 120"/>
                <a:gd name="T55" fmla="*/ 27 h 32"/>
                <a:gd name="T56" fmla="*/ 85 w 120"/>
                <a:gd name="T57" fmla="*/ 27 h 32"/>
                <a:gd name="T58" fmla="*/ 70 w 120"/>
                <a:gd name="T59" fmla="*/ 27 h 32"/>
                <a:gd name="T60" fmla="*/ 68 w 120"/>
                <a:gd name="T61" fmla="*/ 25 h 32"/>
                <a:gd name="T62" fmla="*/ 70 w 120"/>
                <a:gd name="T63" fmla="*/ 23 h 32"/>
                <a:gd name="T64" fmla="*/ 85 w 120"/>
                <a:gd name="T65" fmla="*/ 23 h 32"/>
                <a:gd name="T66" fmla="*/ 87 w 120"/>
                <a:gd name="T67" fmla="*/ 25 h 32"/>
                <a:gd name="T68" fmla="*/ 85 w 120"/>
                <a:gd name="T69" fmla="*/ 27 h 32"/>
                <a:gd name="T70" fmla="*/ 110 w 120"/>
                <a:gd name="T71" fmla="*/ 27 h 32"/>
                <a:gd name="T72" fmla="*/ 95 w 120"/>
                <a:gd name="T73" fmla="*/ 27 h 32"/>
                <a:gd name="T74" fmla="*/ 93 w 120"/>
                <a:gd name="T75" fmla="*/ 25 h 32"/>
                <a:gd name="T76" fmla="*/ 95 w 120"/>
                <a:gd name="T77" fmla="*/ 23 h 32"/>
                <a:gd name="T78" fmla="*/ 110 w 120"/>
                <a:gd name="T79" fmla="*/ 23 h 32"/>
                <a:gd name="T80" fmla="*/ 112 w 120"/>
                <a:gd name="T81" fmla="*/ 25 h 32"/>
                <a:gd name="T82" fmla="*/ 110 w 120"/>
                <a:gd name="T83" fmla="*/ 2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0" h="32">
                  <a:moveTo>
                    <a:pt x="11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30"/>
                    <a:pt x="3" y="32"/>
                    <a:pt x="6" y="32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7" y="32"/>
                    <a:pt x="120" y="30"/>
                    <a:pt x="120" y="26"/>
                  </a:cubicBezTo>
                  <a:cubicBezTo>
                    <a:pt x="120" y="6"/>
                    <a:pt x="120" y="6"/>
                    <a:pt x="120" y="6"/>
                  </a:cubicBezTo>
                  <a:cubicBezTo>
                    <a:pt x="120" y="3"/>
                    <a:pt x="117" y="0"/>
                    <a:pt x="114" y="0"/>
                  </a:cubicBezTo>
                  <a:close/>
                  <a:moveTo>
                    <a:pt x="9" y="12"/>
                  </a:moveTo>
                  <a:cubicBezTo>
                    <a:pt x="7" y="12"/>
                    <a:pt x="5" y="10"/>
                    <a:pt x="5" y="8"/>
                  </a:cubicBezTo>
                  <a:cubicBezTo>
                    <a:pt x="5" y="6"/>
                    <a:pt x="7" y="5"/>
                    <a:pt x="9" y="5"/>
                  </a:cubicBezTo>
                  <a:cubicBezTo>
                    <a:pt x="11" y="5"/>
                    <a:pt x="12" y="6"/>
                    <a:pt x="12" y="8"/>
                  </a:cubicBezTo>
                  <a:cubicBezTo>
                    <a:pt x="12" y="10"/>
                    <a:pt x="11" y="12"/>
                    <a:pt x="9" y="12"/>
                  </a:cubicBezTo>
                  <a:close/>
                  <a:moveTo>
                    <a:pt x="35" y="27"/>
                  </a:moveTo>
                  <a:cubicBezTo>
                    <a:pt x="20" y="27"/>
                    <a:pt x="20" y="27"/>
                    <a:pt x="20" y="27"/>
                  </a:cubicBezTo>
                  <a:cubicBezTo>
                    <a:pt x="19" y="27"/>
                    <a:pt x="18" y="26"/>
                    <a:pt x="18" y="25"/>
                  </a:cubicBezTo>
                  <a:cubicBezTo>
                    <a:pt x="18" y="24"/>
                    <a:pt x="19" y="23"/>
                    <a:pt x="20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6" y="23"/>
                    <a:pt x="37" y="24"/>
                    <a:pt x="37" y="25"/>
                  </a:cubicBezTo>
                  <a:cubicBezTo>
                    <a:pt x="37" y="26"/>
                    <a:pt x="36" y="27"/>
                    <a:pt x="35" y="27"/>
                  </a:cubicBezTo>
                  <a:close/>
                  <a:moveTo>
                    <a:pt x="60" y="27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44" y="27"/>
                    <a:pt x="43" y="26"/>
                    <a:pt x="43" y="25"/>
                  </a:cubicBezTo>
                  <a:cubicBezTo>
                    <a:pt x="43" y="24"/>
                    <a:pt x="44" y="23"/>
                    <a:pt x="45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1" y="23"/>
                    <a:pt x="62" y="24"/>
                    <a:pt x="62" y="25"/>
                  </a:cubicBezTo>
                  <a:cubicBezTo>
                    <a:pt x="62" y="26"/>
                    <a:pt x="61" y="27"/>
                    <a:pt x="60" y="27"/>
                  </a:cubicBezTo>
                  <a:close/>
                  <a:moveTo>
                    <a:pt x="85" y="27"/>
                  </a:moveTo>
                  <a:cubicBezTo>
                    <a:pt x="70" y="27"/>
                    <a:pt x="70" y="27"/>
                    <a:pt x="70" y="27"/>
                  </a:cubicBezTo>
                  <a:cubicBezTo>
                    <a:pt x="69" y="27"/>
                    <a:pt x="68" y="26"/>
                    <a:pt x="68" y="25"/>
                  </a:cubicBezTo>
                  <a:cubicBezTo>
                    <a:pt x="68" y="24"/>
                    <a:pt x="69" y="23"/>
                    <a:pt x="70" y="23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6" y="23"/>
                    <a:pt x="87" y="24"/>
                    <a:pt x="87" y="25"/>
                  </a:cubicBezTo>
                  <a:cubicBezTo>
                    <a:pt x="87" y="26"/>
                    <a:pt x="86" y="27"/>
                    <a:pt x="85" y="27"/>
                  </a:cubicBezTo>
                  <a:close/>
                  <a:moveTo>
                    <a:pt x="110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4" y="27"/>
                    <a:pt x="93" y="26"/>
                    <a:pt x="93" y="25"/>
                  </a:cubicBezTo>
                  <a:cubicBezTo>
                    <a:pt x="93" y="24"/>
                    <a:pt x="94" y="23"/>
                    <a:pt x="95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1" y="23"/>
                    <a:pt x="112" y="24"/>
                    <a:pt x="112" y="25"/>
                  </a:cubicBezTo>
                  <a:cubicBezTo>
                    <a:pt x="112" y="26"/>
                    <a:pt x="111" y="27"/>
                    <a:pt x="110" y="27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0" name="Group 12501">
            <a:extLst>
              <a:ext uri="{FF2B5EF4-FFF2-40B4-BE49-F238E27FC236}">
                <a16:creationId xmlns:a16="http://schemas.microsoft.com/office/drawing/2014/main" id="{047FC610-CB1F-4816-9ED9-2EA73422E516}"/>
              </a:ext>
            </a:extLst>
          </p:cNvPr>
          <p:cNvGrpSpPr/>
          <p:nvPr userDrawn="1"/>
        </p:nvGrpSpPr>
        <p:grpSpPr>
          <a:xfrm>
            <a:off x="5345147" y="1158855"/>
            <a:ext cx="273027" cy="452824"/>
            <a:chOff x="5495925" y="1036638"/>
            <a:chExt cx="325438" cy="539750"/>
          </a:xfrm>
        </p:grpSpPr>
        <p:sp>
          <p:nvSpPr>
            <p:cNvPr id="41" name="Freeform 36">
              <a:extLst>
                <a:ext uri="{FF2B5EF4-FFF2-40B4-BE49-F238E27FC236}">
                  <a16:creationId xmlns:a16="http://schemas.microsoft.com/office/drawing/2014/main" id="{FD626CE4-83DF-4CFB-8244-B1D9D9D64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6100" y="1463675"/>
              <a:ext cx="63500" cy="82550"/>
            </a:xfrm>
            <a:custGeom>
              <a:avLst/>
              <a:gdLst>
                <a:gd name="T0" fmla="*/ 8 w 17"/>
                <a:gd name="T1" fmla="*/ 22 h 22"/>
                <a:gd name="T2" fmla="*/ 17 w 17"/>
                <a:gd name="T3" fmla="*/ 14 h 22"/>
                <a:gd name="T4" fmla="*/ 17 w 17"/>
                <a:gd name="T5" fmla="*/ 0 h 22"/>
                <a:gd name="T6" fmla="*/ 17 w 17"/>
                <a:gd name="T7" fmla="*/ 0 h 22"/>
                <a:gd name="T8" fmla="*/ 0 w 17"/>
                <a:gd name="T9" fmla="*/ 0 h 22"/>
                <a:gd name="T10" fmla="*/ 0 w 17"/>
                <a:gd name="T11" fmla="*/ 0 h 22"/>
                <a:gd name="T12" fmla="*/ 0 w 17"/>
                <a:gd name="T13" fmla="*/ 14 h 22"/>
                <a:gd name="T14" fmla="*/ 8 w 17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2">
                  <a:moveTo>
                    <a:pt x="8" y="22"/>
                  </a:moveTo>
                  <a:cubicBezTo>
                    <a:pt x="13" y="22"/>
                    <a:pt x="17" y="18"/>
                    <a:pt x="17" y="14"/>
                  </a:cubicBezTo>
                  <a:cubicBezTo>
                    <a:pt x="17" y="1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1"/>
                    <a:pt x="0" y="14"/>
                  </a:cubicBezTo>
                  <a:cubicBezTo>
                    <a:pt x="0" y="17"/>
                    <a:pt x="3" y="22"/>
                    <a:pt x="8" y="2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37">
              <a:extLst>
                <a:ext uri="{FF2B5EF4-FFF2-40B4-BE49-F238E27FC236}">
                  <a16:creationId xmlns:a16="http://schemas.microsoft.com/office/drawing/2014/main" id="{7389CBE4-C199-4A7D-972A-5151A2BA1D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1325" y="1036638"/>
              <a:ext cx="274638" cy="411163"/>
            </a:xfrm>
            <a:custGeom>
              <a:avLst/>
              <a:gdLst>
                <a:gd name="T0" fmla="*/ 71 w 73"/>
                <a:gd name="T1" fmla="*/ 0 h 110"/>
                <a:gd name="T2" fmla="*/ 2 w 73"/>
                <a:gd name="T3" fmla="*/ 0 h 110"/>
                <a:gd name="T4" fmla="*/ 0 w 73"/>
                <a:gd name="T5" fmla="*/ 2 h 110"/>
                <a:gd name="T6" fmla="*/ 0 w 73"/>
                <a:gd name="T7" fmla="*/ 108 h 110"/>
                <a:gd name="T8" fmla="*/ 2 w 73"/>
                <a:gd name="T9" fmla="*/ 110 h 110"/>
                <a:gd name="T10" fmla="*/ 71 w 73"/>
                <a:gd name="T11" fmla="*/ 110 h 110"/>
                <a:gd name="T12" fmla="*/ 72 w 73"/>
                <a:gd name="T13" fmla="*/ 108 h 110"/>
                <a:gd name="T14" fmla="*/ 72 w 73"/>
                <a:gd name="T15" fmla="*/ 2 h 110"/>
                <a:gd name="T16" fmla="*/ 71 w 73"/>
                <a:gd name="T17" fmla="*/ 0 h 110"/>
                <a:gd name="T18" fmla="*/ 24 w 73"/>
                <a:gd name="T19" fmla="*/ 66 h 110"/>
                <a:gd name="T20" fmla="*/ 20 w 73"/>
                <a:gd name="T21" fmla="*/ 69 h 110"/>
                <a:gd name="T22" fmla="*/ 7 w 73"/>
                <a:gd name="T23" fmla="*/ 69 h 110"/>
                <a:gd name="T24" fmla="*/ 7 w 73"/>
                <a:gd name="T25" fmla="*/ 19 h 110"/>
                <a:gd name="T26" fmla="*/ 21 w 73"/>
                <a:gd name="T27" fmla="*/ 19 h 110"/>
                <a:gd name="T28" fmla="*/ 24 w 73"/>
                <a:gd name="T29" fmla="*/ 22 h 110"/>
                <a:gd name="T30" fmla="*/ 24 w 73"/>
                <a:gd name="T31" fmla="*/ 66 h 110"/>
                <a:gd name="T32" fmla="*/ 60 w 73"/>
                <a:gd name="T33" fmla="*/ 104 h 110"/>
                <a:gd name="T34" fmla="*/ 55 w 73"/>
                <a:gd name="T35" fmla="*/ 98 h 110"/>
                <a:gd name="T36" fmla="*/ 60 w 73"/>
                <a:gd name="T37" fmla="*/ 93 h 110"/>
                <a:gd name="T38" fmla="*/ 66 w 73"/>
                <a:gd name="T39" fmla="*/ 98 h 110"/>
                <a:gd name="T40" fmla="*/ 60 w 73"/>
                <a:gd name="T41" fmla="*/ 10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3" h="110">
                  <a:moveTo>
                    <a:pt x="71" y="0"/>
                  </a:moveTo>
                  <a:cubicBezTo>
                    <a:pt x="68" y="0"/>
                    <a:pt x="4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0" y="106"/>
                    <a:pt x="0" y="108"/>
                  </a:cubicBezTo>
                  <a:cubicBezTo>
                    <a:pt x="0" y="109"/>
                    <a:pt x="1" y="110"/>
                    <a:pt x="2" y="110"/>
                  </a:cubicBezTo>
                  <a:cubicBezTo>
                    <a:pt x="4" y="110"/>
                    <a:pt x="69" y="110"/>
                    <a:pt x="71" y="110"/>
                  </a:cubicBezTo>
                  <a:cubicBezTo>
                    <a:pt x="72" y="110"/>
                    <a:pt x="72" y="110"/>
                    <a:pt x="72" y="108"/>
                  </a:cubicBezTo>
                  <a:cubicBezTo>
                    <a:pt x="72" y="106"/>
                    <a:pt x="72" y="3"/>
                    <a:pt x="72" y="2"/>
                  </a:cubicBezTo>
                  <a:cubicBezTo>
                    <a:pt x="72" y="2"/>
                    <a:pt x="73" y="0"/>
                    <a:pt x="71" y="0"/>
                  </a:cubicBezTo>
                  <a:close/>
                  <a:moveTo>
                    <a:pt x="24" y="66"/>
                  </a:moveTo>
                  <a:cubicBezTo>
                    <a:pt x="24" y="68"/>
                    <a:pt x="22" y="69"/>
                    <a:pt x="20" y="69"/>
                  </a:cubicBezTo>
                  <a:cubicBezTo>
                    <a:pt x="18" y="69"/>
                    <a:pt x="7" y="69"/>
                    <a:pt x="7" y="6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18" y="19"/>
                    <a:pt x="21" y="19"/>
                  </a:cubicBezTo>
                  <a:cubicBezTo>
                    <a:pt x="23" y="19"/>
                    <a:pt x="24" y="20"/>
                    <a:pt x="24" y="22"/>
                  </a:cubicBezTo>
                  <a:cubicBezTo>
                    <a:pt x="24" y="23"/>
                    <a:pt x="24" y="63"/>
                    <a:pt x="24" y="66"/>
                  </a:cubicBezTo>
                  <a:close/>
                  <a:moveTo>
                    <a:pt x="60" y="104"/>
                  </a:moveTo>
                  <a:cubicBezTo>
                    <a:pt x="57" y="104"/>
                    <a:pt x="55" y="101"/>
                    <a:pt x="55" y="98"/>
                  </a:cubicBezTo>
                  <a:cubicBezTo>
                    <a:pt x="55" y="95"/>
                    <a:pt x="57" y="93"/>
                    <a:pt x="60" y="93"/>
                  </a:cubicBezTo>
                  <a:cubicBezTo>
                    <a:pt x="63" y="93"/>
                    <a:pt x="66" y="95"/>
                    <a:pt x="66" y="98"/>
                  </a:cubicBezTo>
                  <a:cubicBezTo>
                    <a:pt x="66" y="101"/>
                    <a:pt x="63" y="104"/>
                    <a:pt x="60" y="104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38">
              <a:extLst>
                <a:ext uri="{FF2B5EF4-FFF2-40B4-BE49-F238E27FC236}">
                  <a16:creationId xmlns:a16="http://schemas.microsoft.com/office/drawing/2014/main" id="{A4E7EAE9-4FC0-4639-87FD-B0159ED77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2438" y="1516063"/>
              <a:ext cx="250825" cy="60325"/>
            </a:xfrm>
            <a:custGeom>
              <a:avLst/>
              <a:gdLst>
                <a:gd name="T0" fmla="*/ 59 w 67"/>
                <a:gd name="T1" fmla="*/ 0 h 16"/>
                <a:gd name="T2" fmla="*/ 45 w 67"/>
                <a:gd name="T3" fmla="*/ 0 h 16"/>
                <a:gd name="T4" fmla="*/ 34 w 67"/>
                <a:gd name="T5" fmla="*/ 11 h 16"/>
                <a:gd name="T6" fmla="*/ 22 w 67"/>
                <a:gd name="T7" fmla="*/ 0 h 16"/>
                <a:gd name="T8" fmla="*/ 8 w 67"/>
                <a:gd name="T9" fmla="*/ 0 h 16"/>
                <a:gd name="T10" fmla="*/ 0 w 67"/>
                <a:gd name="T11" fmla="*/ 8 h 16"/>
                <a:gd name="T12" fmla="*/ 8 w 67"/>
                <a:gd name="T13" fmla="*/ 16 h 16"/>
                <a:gd name="T14" fmla="*/ 59 w 67"/>
                <a:gd name="T15" fmla="*/ 16 h 16"/>
                <a:gd name="T16" fmla="*/ 67 w 67"/>
                <a:gd name="T17" fmla="*/ 8 h 16"/>
                <a:gd name="T18" fmla="*/ 59 w 67"/>
                <a:gd name="T1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16">
                  <a:moveTo>
                    <a:pt x="59" y="0"/>
                  </a:moveTo>
                  <a:cubicBezTo>
                    <a:pt x="45" y="0"/>
                    <a:pt x="45" y="0"/>
                    <a:pt x="45" y="0"/>
                  </a:cubicBezTo>
                  <a:cubicBezTo>
                    <a:pt x="45" y="6"/>
                    <a:pt x="40" y="11"/>
                    <a:pt x="34" y="11"/>
                  </a:cubicBezTo>
                  <a:cubicBezTo>
                    <a:pt x="27" y="11"/>
                    <a:pt x="23" y="6"/>
                    <a:pt x="2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3"/>
                    <a:pt x="4" y="16"/>
                    <a:pt x="8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63" y="16"/>
                    <a:pt x="67" y="13"/>
                    <a:pt x="67" y="8"/>
                  </a:cubicBezTo>
                  <a:cubicBezTo>
                    <a:pt x="67" y="4"/>
                    <a:pt x="63" y="0"/>
                    <a:pt x="59" y="0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39">
              <a:extLst>
                <a:ext uri="{FF2B5EF4-FFF2-40B4-BE49-F238E27FC236}">
                  <a16:creationId xmlns:a16="http://schemas.microsoft.com/office/drawing/2014/main" id="{317EEA6E-B9CD-436E-97D5-7529DB086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5925" y="1524000"/>
              <a:ext cx="28575" cy="44450"/>
            </a:xfrm>
            <a:custGeom>
              <a:avLst/>
              <a:gdLst>
                <a:gd name="T0" fmla="*/ 7 w 8"/>
                <a:gd name="T1" fmla="*/ 6 h 12"/>
                <a:gd name="T2" fmla="*/ 8 w 8"/>
                <a:gd name="T3" fmla="*/ 0 h 12"/>
                <a:gd name="T4" fmla="*/ 0 w 8"/>
                <a:gd name="T5" fmla="*/ 0 h 12"/>
                <a:gd name="T6" fmla="*/ 0 w 8"/>
                <a:gd name="T7" fmla="*/ 12 h 12"/>
                <a:gd name="T8" fmla="*/ 8 w 8"/>
                <a:gd name="T9" fmla="*/ 12 h 12"/>
                <a:gd name="T10" fmla="*/ 7 w 8"/>
                <a:gd name="T1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7" y="6"/>
                  </a:moveTo>
                  <a:cubicBezTo>
                    <a:pt x="7" y="4"/>
                    <a:pt x="8" y="2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7" y="10"/>
                    <a:pt x="7" y="8"/>
                    <a:pt x="7" y="6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40">
              <a:extLst>
                <a:ext uri="{FF2B5EF4-FFF2-40B4-BE49-F238E27FC236}">
                  <a16:creationId xmlns:a16="http://schemas.microsoft.com/office/drawing/2014/main" id="{E8250555-008F-40AB-A25A-2B3A711BD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1200" y="1524000"/>
              <a:ext cx="30163" cy="44450"/>
            </a:xfrm>
            <a:custGeom>
              <a:avLst/>
              <a:gdLst>
                <a:gd name="T0" fmla="*/ 0 w 8"/>
                <a:gd name="T1" fmla="*/ 0 h 12"/>
                <a:gd name="T2" fmla="*/ 1 w 8"/>
                <a:gd name="T3" fmla="*/ 6 h 12"/>
                <a:gd name="T4" fmla="*/ 0 w 8"/>
                <a:gd name="T5" fmla="*/ 12 h 12"/>
                <a:gd name="T6" fmla="*/ 8 w 8"/>
                <a:gd name="T7" fmla="*/ 12 h 12"/>
                <a:gd name="T8" fmla="*/ 8 w 8"/>
                <a:gd name="T9" fmla="*/ 0 h 12"/>
                <a:gd name="T10" fmla="*/ 0 w 8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2">
                  <a:moveTo>
                    <a:pt x="0" y="0"/>
                  </a:moveTo>
                  <a:cubicBezTo>
                    <a:pt x="1" y="2"/>
                    <a:pt x="1" y="4"/>
                    <a:pt x="1" y="6"/>
                  </a:cubicBezTo>
                  <a:cubicBezTo>
                    <a:pt x="1" y="8"/>
                    <a:pt x="1" y="10"/>
                    <a:pt x="0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6" name="Group 12492">
            <a:extLst>
              <a:ext uri="{FF2B5EF4-FFF2-40B4-BE49-F238E27FC236}">
                <a16:creationId xmlns:a16="http://schemas.microsoft.com/office/drawing/2014/main" id="{CD6B172A-A8C9-43E0-B7FA-2F3B6CEB02B1}"/>
              </a:ext>
            </a:extLst>
          </p:cNvPr>
          <p:cNvGrpSpPr/>
          <p:nvPr userDrawn="1"/>
        </p:nvGrpSpPr>
        <p:grpSpPr>
          <a:xfrm>
            <a:off x="6238856" y="1183069"/>
            <a:ext cx="336955" cy="392892"/>
            <a:chOff x="6518275" y="1069975"/>
            <a:chExt cx="401638" cy="468313"/>
          </a:xfrm>
        </p:grpSpPr>
        <p:sp>
          <p:nvSpPr>
            <p:cNvPr id="47" name="Freeform 41">
              <a:extLst>
                <a:ext uri="{FF2B5EF4-FFF2-40B4-BE49-F238E27FC236}">
                  <a16:creationId xmlns:a16="http://schemas.microsoft.com/office/drawing/2014/main" id="{410CAAFC-3CF9-4D4E-A1B8-234FEBC907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8275" y="1069975"/>
              <a:ext cx="401638" cy="401638"/>
            </a:xfrm>
            <a:custGeom>
              <a:avLst/>
              <a:gdLst>
                <a:gd name="T0" fmla="*/ 104 w 107"/>
                <a:gd name="T1" fmla="*/ 70 h 107"/>
                <a:gd name="T2" fmla="*/ 37 w 107"/>
                <a:gd name="T3" fmla="*/ 2 h 107"/>
                <a:gd name="T4" fmla="*/ 29 w 107"/>
                <a:gd name="T5" fmla="*/ 2 h 107"/>
                <a:gd name="T6" fmla="*/ 0 w 107"/>
                <a:gd name="T7" fmla="*/ 51 h 107"/>
                <a:gd name="T8" fmla="*/ 55 w 107"/>
                <a:gd name="T9" fmla="*/ 107 h 107"/>
                <a:gd name="T10" fmla="*/ 105 w 107"/>
                <a:gd name="T11" fmla="*/ 76 h 107"/>
                <a:gd name="T12" fmla="*/ 104 w 107"/>
                <a:gd name="T13" fmla="*/ 70 h 107"/>
                <a:gd name="T14" fmla="*/ 42 w 107"/>
                <a:gd name="T15" fmla="*/ 96 h 107"/>
                <a:gd name="T16" fmla="*/ 42 w 107"/>
                <a:gd name="T17" fmla="*/ 95 h 107"/>
                <a:gd name="T18" fmla="*/ 9 w 107"/>
                <a:gd name="T19" fmla="*/ 62 h 107"/>
                <a:gd name="T20" fmla="*/ 29 w 107"/>
                <a:gd name="T21" fmla="*/ 13 h 107"/>
                <a:gd name="T22" fmla="*/ 36 w 107"/>
                <a:gd name="T23" fmla="*/ 13 h 107"/>
                <a:gd name="T24" fmla="*/ 35 w 107"/>
                <a:gd name="T25" fmla="*/ 20 h 107"/>
                <a:gd name="T26" fmla="*/ 18 w 107"/>
                <a:gd name="T27" fmla="*/ 60 h 107"/>
                <a:gd name="T28" fmla="*/ 43 w 107"/>
                <a:gd name="T29" fmla="*/ 87 h 107"/>
                <a:gd name="T30" fmla="*/ 46 w 107"/>
                <a:gd name="T31" fmla="*/ 92 h 107"/>
                <a:gd name="T32" fmla="*/ 42 w 107"/>
                <a:gd name="T33" fmla="*/ 9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7" h="107">
                  <a:moveTo>
                    <a:pt x="104" y="70"/>
                  </a:moveTo>
                  <a:cubicBezTo>
                    <a:pt x="102" y="67"/>
                    <a:pt x="37" y="2"/>
                    <a:pt x="37" y="2"/>
                  </a:cubicBezTo>
                  <a:cubicBezTo>
                    <a:pt x="35" y="0"/>
                    <a:pt x="33" y="0"/>
                    <a:pt x="29" y="2"/>
                  </a:cubicBezTo>
                  <a:cubicBezTo>
                    <a:pt x="12" y="11"/>
                    <a:pt x="0" y="30"/>
                    <a:pt x="0" y="51"/>
                  </a:cubicBezTo>
                  <a:cubicBezTo>
                    <a:pt x="0" y="82"/>
                    <a:pt x="25" y="107"/>
                    <a:pt x="55" y="107"/>
                  </a:cubicBezTo>
                  <a:cubicBezTo>
                    <a:pt x="77" y="107"/>
                    <a:pt x="96" y="94"/>
                    <a:pt x="105" y="76"/>
                  </a:cubicBezTo>
                  <a:cubicBezTo>
                    <a:pt x="106" y="75"/>
                    <a:pt x="107" y="72"/>
                    <a:pt x="104" y="70"/>
                  </a:cubicBezTo>
                  <a:close/>
                  <a:moveTo>
                    <a:pt x="42" y="96"/>
                  </a:moveTo>
                  <a:cubicBezTo>
                    <a:pt x="42" y="96"/>
                    <a:pt x="42" y="95"/>
                    <a:pt x="42" y="95"/>
                  </a:cubicBezTo>
                  <a:cubicBezTo>
                    <a:pt x="30" y="94"/>
                    <a:pt x="14" y="80"/>
                    <a:pt x="9" y="62"/>
                  </a:cubicBezTo>
                  <a:cubicBezTo>
                    <a:pt x="7" y="52"/>
                    <a:pt x="5" y="31"/>
                    <a:pt x="29" y="13"/>
                  </a:cubicBezTo>
                  <a:cubicBezTo>
                    <a:pt x="31" y="11"/>
                    <a:pt x="34" y="12"/>
                    <a:pt x="36" y="13"/>
                  </a:cubicBezTo>
                  <a:cubicBezTo>
                    <a:pt x="37" y="15"/>
                    <a:pt x="37" y="18"/>
                    <a:pt x="35" y="20"/>
                  </a:cubicBezTo>
                  <a:cubicBezTo>
                    <a:pt x="16" y="35"/>
                    <a:pt x="15" y="50"/>
                    <a:pt x="18" y="60"/>
                  </a:cubicBezTo>
                  <a:cubicBezTo>
                    <a:pt x="22" y="75"/>
                    <a:pt x="35" y="86"/>
                    <a:pt x="43" y="87"/>
                  </a:cubicBezTo>
                  <a:cubicBezTo>
                    <a:pt x="45" y="87"/>
                    <a:pt x="47" y="89"/>
                    <a:pt x="46" y="92"/>
                  </a:cubicBezTo>
                  <a:cubicBezTo>
                    <a:pt x="46" y="94"/>
                    <a:pt x="44" y="96"/>
                    <a:pt x="42" y="96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42">
              <a:extLst>
                <a:ext uri="{FF2B5EF4-FFF2-40B4-BE49-F238E27FC236}">
                  <a16:creationId xmlns:a16="http://schemas.microsoft.com/office/drawing/2014/main" id="{3B43E493-004E-4593-AE2C-8C085FCE7D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2913" y="1069975"/>
              <a:ext cx="123825" cy="123825"/>
            </a:xfrm>
            <a:custGeom>
              <a:avLst/>
              <a:gdLst>
                <a:gd name="T0" fmla="*/ 25 w 33"/>
                <a:gd name="T1" fmla="*/ 0 h 33"/>
                <a:gd name="T2" fmla="*/ 16 w 33"/>
                <a:gd name="T3" fmla="*/ 9 h 33"/>
                <a:gd name="T4" fmla="*/ 16 w 33"/>
                <a:gd name="T5" fmla="*/ 12 h 33"/>
                <a:gd name="T6" fmla="*/ 2 w 33"/>
                <a:gd name="T7" fmla="*/ 26 h 33"/>
                <a:gd name="T8" fmla="*/ 1 w 33"/>
                <a:gd name="T9" fmla="*/ 32 h 33"/>
                <a:gd name="T10" fmla="*/ 2 w 33"/>
                <a:gd name="T11" fmla="*/ 32 h 33"/>
                <a:gd name="T12" fmla="*/ 7 w 33"/>
                <a:gd name="T13" fmla="*/ 32 h 33"/>
                <a:gd name="T14" fmla="*/ 22 w 33"/>
                <a:gd name="T15" fmla="*/ 18 h 33"/>
                <a:gd name="T16" fmla="*/ 25 w 33"/>
                <a:gd name="T17" fmla="*/ 18 h 33"/>
                <a:gd name="T18" fmla="*/ 33 w 33"/>
                <a:gd name="T19" fmla="*/ 9 h 33"/>
                <a:gd name="T20" fmla="*/ 25 w 33"/>
                <a:gd name="T2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3">
                  <a:moveTo>
                    <a:pt x="25" y="0"/>
                  </a:moveTo>
                  <a:cubicBezTo>
                    <a:pt x="20" y="0"/>
                    <a:pt x="16" y="4"/>
                    <a:pt x="16" y="9"/>
                  </a:cubicBezTo>
                  <a:cubicBezTo>
                    <a:pt x="16" y="10"/>
                    <a:pt x="16" y="11"/>
                    <a:pt x="16" y="12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27"/>
                    <a:pt x="0" y="30"/>
                    <a:pt x="1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3" y="33"/>
                    <a:pt x="6" y="33"/>
                    <a:pt x="7" y="32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3" y="18"/>
                    <a:pt x="24" y="18"/>
                    <a:pt x="25" y="18"/>
                  </a:cubicBezTo>
                  <a:cubicBezTo>
                    <a:pt x="30" y="18"/>
                    <a:pt x="33" y="14"/>
                    <a:pt x="33" y="9"/>
                  </a:cubicBezTo>
                  <a:cubicBezTo>
                    <a:pt x="33" y="4"/>
                    <a:pt x="30" y="0"/>
                    <a:pt x="25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43">
              <a:extLst>
                <a:ext uri="{FF2B5EF4-FFF2-40B4-BE49-F238E27FC236}">
                  <a16:creationId xmlns:a16="http://schemas.microsoft.com/office/drawing/2014/main" id="{39CC1B37-ECB1-44AA-BE84-4FD426E5E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100" y="1497013"/>
              <a:ext cx="131763" cy="41275"/>
            </a:xfrm>
            <a:custGeom>
              <a:avLst/>
              <a:gdLst>
                <a:gd name="T0" fmla="*/ 30 w 35"/>
                <a:gd name="T1" fmla="*/ 11 h 11"/>
                <a:gd name="T2" fmla="*/ 5 w 35"/>
                <a:gd name="T3" fmla="*/ 11 h 11"/>
                <a:gd name="T4" fmla="*/ 0 w 35"/>
                <a:gd name="T5" fmla="*/ 6 h 11"/>
                <a:gd name="T6" fmla="*/ 0 w 35"/>
                <a:gd name="T7" fmla="*/ 6 h 11"/>
                <a:gd name="T8" fmla="*/ 5 w 35"/>
                <a:gd name="T9" fmla="*/ 0 h 11"/>
                <a:gd name="T10" fmla="*/ 30 w 35"/>
                <a:gd name="T11" fmla="*/ 0 h 11"/>
                <a:gd name="T12" fmla="*/ 35 w 35"/>
                <a:gd name="T13" fmla="*/ 6 h 11"/>
                <a:gd name="T14" fmla="*/ 35 w 35"/>
                <a:gd name="T15" fmla="*/ 6 h 11"/>
                <a:gd name="T16" fmla="*/ 30 w 35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1">
                  <a:moveTo>
                    <a:pt x="30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5" y="3"/>
                    <a:pt x="35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9"/>
                    <a:pt x="33" y="11"/>
                    <a:pt x="30" y="11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0" name="Group 12491">
            <a:extLst>
              <a:ext uri="{FF2B5EF4-FFF2-40B4-BE49-F238E27FC236}">
                <a16:creationId xmlns:a16="http://schemas.microsoft.com/office/drawing/2014/main" id="{8E6556A4-D997-48C8-9249-6A9D1DBD3853}"/>
              </a:ext>
            </a:extLst>
          </p:cNvPr>
          <p:cNvGrpSpPr/>
          <p:nvPr userDrawn="1"/>
        </p:nvGrpSpPr>
        <p:grpSpPr>
          <a:xfrm>
            <a:off x="7158393" y="1190602"/>
            <a:ext cx="336955" cy="374246"/>
            <a:chOff x="7635875" y="1062038"/>
            <a:chExt cx="401638" cy="446088"/>
          </a:xfrm>
        </p:grpSpPr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6EAA31FD-8EDC-4A1B-9AFE-EA4E42F49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1750" y="1414463"/>
              <a:ext cx="201613" cy="93663"/>
            </a:xfrm>
            <a:custGeom>
              <a:avLst/>
              <a:gdLst>
                <a:gd name="T0" fmla="*/ 27 w 54"/>
                <a:gd name="T1" fmla="*/ 18 h 25"/>
                <a:gd name="T2" fmla="*/ 40 w 54"/>
                <a:gd name="T3" fmla="*/ 25 h 25"/>
                <a:gd name="T4" fmla="*/ 54 w 54"/>
                <a:gd name="T5" fmla="*/ 25 h 25"/>
                <a:gd name="T6" fmla="*/ 27 w 54"/>
                <a:gd name="T7" fmla="*/ 0 h 25"/>
                <a:gd name="T8" fmla="*/ 0 w 54"/>
                <a:gd name="T9" fmla="*/ 25 h 25"/>
                <a:gd name="T10" fmla="*/ 14 w 54"/>
                <a:gd name="T11" fmla="*/ 25 h 25"/>
                <a:gd name="T12" fmla="*/ 27 w 54"/>
                <a:gd name="T13" fmla="*/ 18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25">
                  <a:moveTo>
                    <a:pt x="27" y="18"/>
                  </a:moveTo>
                  <a:cubicBezTo>
                    <a:pt x="32" y="18"/>
                    <a:pt x="37" y="21"/>
                    <a:pt x="40" y="25"/>
                  </a:cubicBezTo>
                  <a:cubicBezTo>
                    <a:pt x="54" y="25"/>
                    <a:pt x="54" y="25"/>
                    <a:pt x="54" y="25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7" y="21"/>
                    <a:pt x="22" y="18"/>
                    <a:pt x="27" y="18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7A19519F-7FC3-4951-A20D-A1D5CE01B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5875" y="1119188"/>
              <a:ext cx="352425" cy="317500"/>
            </a:xfrm>
            <a:custGeom>
              <a:avLst/>
              <a:gdLst>
                <a:gd name="T0" fmla="*/ 53 w 94"/>
                <a:gd name="T1" fmla="*/ 22 h 85"/>
                <a:gd name="T2" fmla="*/ 20 w 94"/>
                <a:gd name="T3" fmla="*/ 4 h 85"/>
                <a:gd name="T4" fmla="*/ 23 w 94"/>
                <a:gd name="T5" fmla="*/ 62 h 85"/>
                <a:gd name="T6" fmla="*/ 80 w 94"/>
                <a:gd name="T7" fmla="*/ 78 h 85"/>
                <a:gd name="T8" fmla="*/ 71 w 94"/>
                <a:gd name="T9" fmla="*/ 41 h 85"/>
                <a:gd name="T10" fmla="*/ 67 w 94"/>
                <a:gd name="T11" fmla="*/ 47 h 85"/>
                <a:gd name="T12" fmla="*/ 76 w 94"/>
                <a:gd name="T13" fmla="*/ 69 h 85"/>
                <a:gd name="T14" fmla="*/ 37 w 94"/>
                <a:gd name="T15" fmla="*/ 40 h 85"/>
                <a:gd name="T16" fmla="*/ 24 w 94"/>
                <a:gd name="T17" fmla="*/ 12 h 85"/>
                <a:gd name="T18" fmla="*/ 47 w 94"/>
                <a:gd name="T19" fmla="*/ 26 h 85"/>
                <a:gd name="T20" fmla="*/ 53 w 94"/>
                <a:gd name="T21" fmla="*/ 2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4" h="85">
                  <a:moveTo>
                    <a:pt x="53" y="22"/>
                  </a:moveTo>
                  <a:cubicBezTo>
                    <a:pt x="53" y="22"/>
                    <a:pt x="31" y="0"/>
                    <a:pt x="20" y="4"/>
                  </a:cubicBezTo>
                  <a:cubicBezTo>
                    <a:pt x="14" y="6"/>
                    <a:pt x="0" y="36"/>
                    <a:pt x="23" y="62"/>
                  </a:cubicBezTo>
                  <a:cubicBezTo>
                    <a:pt x="43" y="85"/>
                    <a:pt x="74" y="83"/>
                    <a:pt x="80" y="78"/>
                  </a:cubicBezTo>
                  <a:cubicBezTo>
                    <a:pt x="94" y="69"/>
                    <a:pt x="71" y="41"/>
                    <a:pt x="71" y="41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81" y="67"/>
                    <a:pt x="76" y="69"/>
                  </a:cubicBezTo>
                  <a:cubicBezTo>
                    <a:pt x="72" y="71"/>
                    <a:pt x="53" y="59"/>
                    <a:pt x="37" y="40"/>
                  </a:cubicBezTo>
                  <a:cubicBezTo>
                    <a:pt x="21" y="20"/>
                    <a:pt x="23" y="12"/>
                    <a:pt x="24" y="12"/>
                  </a:cubicBezTo>
                  <a:cubicBezTo>
                    <a:pt x="30" y="9"/>
                    <a:pt x="47" y="26"/>
                    <a:pt x="47" y="26"/>
                  </a:cubicBezTo>
                  <a:lnTo>
                    <a:pt x="53" y="22"/>
                  </a:ln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DFEF0FCE-435F-4DF8-B3AF-0B14BD0ED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1160463"/>
              <a:ext cx="131763" cy="134938"/>
            </a:xfrm>
            <a:custGeom>
              <a:avLst/>
              <a:gdLst>
                <a:gd name="T0" fmla="*/ 29 w 35"/>
                <a:gd name="T1" fmla="*/ 0 h 36"/>
                <a:gd name="T2" fmla="*/ 22 w 35"/>
                <a:gd name="T3" fmla="*/ 7 h 36"/>
                <a:gd name="T4" fmla="*/ 22 w 35"/>
                <a:gd name="T5" fmla="*/ 9 h 36"/>
                <a:gd name="T6" fmla="*/ 21 w 35"/>
                <a:gd name="T7" fmla="*/ 12 h 36"/>
                <a:gd name="T8" fmla="*/ 0 w 35"/>
                <a:gd name="T9" fmla="*/ 25 h 36"/>
                <a:gd name="T10" fmla="*/ 11 w 35"/>
                <a:gd name="T11" fmla="*/ 36 h 36"/>
                <a:gd name="T12" fmla="*/ 25 w 35"/>
                <a:gd name="T13" fmla="*/ 14 h 36"/>
                <a:gd name="T14" fmla="*/ 27 w 35"/>
                <a:gd name="T15" fmla="*/ 13 h 36"/>
                <a:gd name="T16" fmla="*/ 29 w 35"/>
                <a:gd name="T17" fmla="*/ 14 h 36"/>
                <a:gd name="T18" fmla="*/ 35 w 35"/>
                <a:gd name="T19" fmla="*/ 7 h 36"/>
                <a:gd name="T20" fmla="*/ 29 w 35"/>
                <a:gd name="T2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36">
                  <a:moveTo>
                    <a:pt x="29" y="0"/>
                  </a:moveTo>
                  <a:cubicBezTo>
                    <a:pt x="25" y="0"/>
                    <a:pt x="22" y="3"/>
                    <a:pt x="22" y="7"/>
                  </a:cubicBezTo>
                  <a:cubicBezTo>
                    <a:pt x="22" y="8"/>
                    <a:pt x="22" y="8"/>
                    <a:pt x="22" y="9"/>
                  </a:cubicBezTo>
                  <a:cubicBezTo>
                    <a:pt x="22" y="10"/>
                    <a:pt x="21" y="11"/>
                    <a:pt x="21" y="12"/>
                  </a:cubicBezTo>
                  <a:cubicBezTo>
                    <a:pt x="20" y="13"/>
                    <a:pt x="0" y="24"/>
                    <a:pt x="0" y="25"/>
                  </a:cubicBezTo>
                  <a:cubicBezTo>
                    <a:pt x="2" y="30"/>
                    <a:pt x="7" y="34"/>
                    <a:pt x="11" y="36"/>
                  </a:cubicBezTo>
                  <a:cubicBezTo>
                    <a:pt x="11" y="35"/>
                    <a:pt x="23" y="15"/>
                    <a:pt x="25" y="14"/>
                  </a:cubicBezTo>
                  <a:cubicBezTo>
                    <a:pt x="25" y="14"/>
                    <a:pt x="26" y="14"/>
                    <a:pt x="27" y="13"/>
                  </a:cubicBezTo>
                  <a:cubicBezTo>
                    <a:pt x="27" y="14"/>
                    <a:pt x="28" y="14"/>
                    <a:pt x="29" y="14"/>
                  </a:cubicBezTo>
                  <a:cubicBezTo>
                    <a:pt x="32" y="14"/>
                    <a:pt x="35" y="11"/>
                    <a:pt x="35" y="7"/>
                  </a:cubicBezTo>
                  <a:cubicBezTo>
                    <a:pt x="35" y="3"/>
                    <a:pt x="32" y="0"/>
                    <a:pt x="29" y="0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EF32E25F-8566-4096-8332-3EEEB2FF7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1625" y="1111250"/>
              <a:ext cx="71438" cy="74613"/>
            </a:xfrm>
            <a:custGeom>
              <a:avLst/>
              <a:gdLst>
                <a:gd name="T0" fmla="*/ 0 w 19"/>
                <a:gd name="T1" fmla="*/ 7 h 20"/>
                <a:gd name="T2" fmla="*/ 0 w 19"/>
                <a:gd name="T3" fmla="*/ 7 h 20"/>
                <a:gd name="T4" fmla="*/ 12 w 19"/>
                <a:gd name="T5" fmla="*/ 19 h 20"/>
                <a:gd name="T6" fmla="*/ 12 w 19"/>
                <a:gd name="T7" fmla="*/ 20 h 20"/>
                <a:gd name="T8" fmla="*/ 19 w 19"/>
                <a:gd name="T9" fmla="*/ 20 h 20"/>
                <a:gd name="T10" fmla="*/ 19 w 19"/>
                <a:gd name="T11" fmla="*/ 19 h 20"/>
                <a:gd name="T12" fmla="*/ 0 w 19"/>
                <a:gd name="T13" fmla="*/ 0 h 20"/>
                <a:gd name="T14" fmla="*/ 0 w 19"/>
                <a:gd name="T15" fmla="*/ 0 h 20"/>
                <a:gd name="T16" fmla="*/ 0 w 19"/>
                <a:gd name="T17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20">
                  <a:moveTo>
                    <a:pt x="0" y="7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7" y="7"/>
                    <a:pt x="12" y="12"/>
                    <a:pt x="12" y="19"/>
                  </a:cubicBezTo>
                  <a:cubicBezTo>
                    <a:pt x="12" y="19"/>
                    <a:pt x="12" y="20"/>
                    <a:pt x="12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19"/>
                    <a:pt x="19" y="19"/>
                  </a:cubicBezTo>
                  <a:cubicBezTo>
                    <a:pt x="19" y="9"/>
                    <a:pt x="1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7D78DA40-7DA4-44C9-8493-361B4C13F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1625" y="1062038"/>
              <a:ext cx="115888" cy="123825"/>
            </a:xfrm>
            <a:custGeom>
              <a:avLst/>
              <a:gdLst>
                <a:gd name="T0" fmla="*/ 0 w 31"/>
                <a:gd name="T1" fmla="*/ 7 h 33"/>
                <a:gd name="T2" fmla="*/ 1 w 31"/>
                <a:gd name="T3" fmla="*/ 7 h 33"/>
                <a:gd name="T4" fmla="*/ 25 w 31"/>
                <a:gd name="T5" fmla="*/ 32 h 33"/>
                <a:gd name="T6" fmla="*/ 25 w 31"/>
                <a:gd name="T7" fmla="*/ 33 h 33"/>
                <a:gd name="T8" fmla="*/ 31 w 31"/>
                <a:gd name="T9" fmla="*/ 33 h 33"/>
                <a:gd name="T10" fmla="*/ 31 w 31"/>
                <a:gd name="T11" fmla="*/ 32 h 33"/>
                <a:gd name="T12" fmla="*/ 1 w 31"/>
                <a:gd name="T13" fmla="*/ 0 h 33"/>
                <a:gd name="T14" fmla="*/ 0 w 31"/>
                <a:gd name="T15" fmla="*/ 1 h 33"/>
                <a:gd name="T16" fmla="*/ 0 w 31"/>
                <a:gd name="T17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3">
                  <a:moveTo>
                    <a:pt x="0" y="7"/>
                  </a:moveTo>
                  <a:cubicBezTo>
                    <a:pt x="0" y="7"/>
                    <a:pt x="0" y="7"/>
                    <a:pt x="1" y="7"/>
                  </a:cubicBezTo>
                  <a:cubicBezTo>
                    <a:pt x="14" y="7"/>
                    <a:pt x="25" y="19"/>
                    <a:pt x="25" y="32"/>
                  </a:cubicBezTo>
                  <a:cubicBezTo>
                    <a:pt x="25" y="32"/>
                    <a:pt x="25" y="33"/>
                    <a:pt x="25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1" y="32"/>
                    <a:pt x="31" y="32"/>
                  </a:cubicBezTo>
                  <a:cubicBezTo>
                    <a:pt x="31" y="15"/>
                    <a:pt x="18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6" name="Group 12490">
            <a:extLst>
              <a:ext uri="{FF2B5EF4-FFF2-40B4-BE49-F238E27FC236}">
                <a16:creationId xmlns:a16="http://schemas.microsoft.com/office/drawing/2014/main" id="{CAC7E822-085D-4225-B242-4C11CE811BC0}"/>
              </a:ext>
            </a:extLst>
          </p:cNvPr>
          <p:cNvGrpSpPr/>
          <p:nvPr userDrawn="1"/>
        </p:nvGrpSpPr>
        <p:grpSpPr>
          <a:xfrm>
            <a:off x="8075244" y="1187912"/>
            <a:ext cx="343614" cy="380905"/>
            <a:chOff x="8723313" y="1069975"/>
            <a:chExt cx="409575" cy="454025"/>
          </a:xfrm>
        </p:grpSpPr>
        <p:sp>
          <p:nvSpPr>
            <p:cNvPr id="57" name="Freeform 49">
              <a:extLst>
                <a:ext uri="{FF2B5EF4-FFF2-40B4-BE49-F238E27FC236}">
                  <a16:creationId xmlns:a16="http://schemas.microsoft.com/office/drawing/2014/main" id="{F5B4712F-76D2-4570-8F34-7514637AB0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9188" y="1419225"/>
              <a:ext cx="239713" cy="104775"/>
            </a:xfrm>
            <a:custGeom>
              <a:avLst/>
              <a:gdLst>
                <a:gd name="T0" fmla="*/ 32 w 64"/>
                <a:gd name="T1" fmla="*/ 20 h 28"/>
                <a:gd name="T2" fmla="*/ 47 w 64"/>
                <a:gd name="T3" fmla="*/ 28 h 28"/>
                <a:gd name="T4" fmla="*/ 64 w 64"/>
                <a:gd name="T5" fmla="*/ 28 h 28"/>
                <a:gd name="T6" fmla="*/ 32 w 64"/>
                <a:gd name="T7" fmla="*/ 0 h 28"/>
                <a:gd name="T8" fmla="*/ 0 w 64"/>
                <a:gd name="T9" fmla="*/ 28 h 28"/>
                <a:gd name="T10" fmla="*/ 17 w 64"/>
                <a:gd name="T11" fmla="*/ 28 h 28"/>
                <a:gd name="T12" fmla="*/ 32 w 64"/>
                <a:gd name="T13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28">
                  <a:moveTo>
                    <a:pt x="32" y="20"/>
                  </a:moveTo>
                  <a:cubicBezTo>
                    <a:pt x="38" y="20"/>
                    <a:pt x="43" y="24"/>
                    <a:pt x="47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20" y="24"/>
                    <a:pt x="25" y="20"/>
                    <a:pt x="32" y="2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50">
              <a:extLst>
                <a:ext uri="{FF2B5EF4-FFF2-40B4-BE49-F238E27FC236}">
                  <a16:creationId xmlns:a16="http://schemas.microsoft.com/office/drawing/2014/main" id="{9313C121-2B2D-4F7D-A397-F43B16F5A52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3313" y="1069975"/>
              <a:ext cx="409575" cy="371475"/>
            </a:xfrm>
            <a:custGeom>
              <a:avLst/>
              <a:gdLst>
                <a:gd name="T0" fmla="*/ 62 w 109"/>
                <a:gd name="T1" fmla="*/ 26 h 99"/>
                <a:gd name="T2" fmla="*/ 23 w 109"/>
                <a:gd name="T3" fmla="*/ 4 h 99"/>
                <a:gd name="T4" fmla="*/ 27 w 109"/>
                <a:gd name="T5" fmla="*/ 73 h 99"/>
                <a:gd name="T6" fmla="*/ 94 w 109"/>
                <a:gd name="T7" fmla="*/ 91 h 99"/>
                <a:gd name="T8" fmla="*/ 83 w 109"/>
                <a:gd name="T9" fmla="*/ 48 h 99"/>
                <a:gd name="T10" fmla="*/ 78 w 109"/>
                <a:gd name="T11" fmla="*/ 55 h 99"/>
                <a:gd name="T12" fmla="*/ 89 w 109"/>
                <a:gd name="T13" fmla="*/ 80 h 99"/>
                <a:gd name="T14" fmla="*/ 43 w 109"/>
                <a:gd name="T15" fmla="*/ 47 h 99"/>
                <a:gd name="T16" fmla="*/ 28 w 109"/>
                <a:gd name="T17" fmla="*/ 14 h 99"/>
                <a:gd name="T18" fmla="*/ 55 w 109"/>
                <a:gd name="T19" fmla="*/ 30 h 99"/>
                <a:gd name="T20" fmla="*/ 62 w 109"/>
                <a:gd name="T21" fmla="*/ 2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99">
                  <a:moveTo>
                    <a:pt x="62" y="26"/>
                  </a:moveTo>
                  <a:cubicBezTo>
                    <a:pt x="62" y="26"/>
                    <a:pt x="36" y="0"/>
                    <a:pt x="23" y="4"/>
                  </a:cubicBezTo>
                  <a:cubicBezTo>
                    <a:pt x="15" y="7"/>
                    <a:pt x="0" y="42"/>
                    <a:pt x="27" y="73"/>
                  </a:cubicBezTo>
                  <a:cubicBezTo>
                    <a:pt x="49" y="99"/>
                    <a:pt x="86" y="97"/>
                    <a:pt x="94" y="91"/>
                  </a:cubicBezTo>
                  <a:cubicBezTo>
                    <a:pt x="109" y="81"/>
                    <a:pt x="83" y="48"/>
                    <a:pt x="83" y="48"/>
                  </a:cubicBezTo>
                  <a:cubicBezTo>
                    <a:pt x="78" y="55"/>
                    <a:pt x="78" y="55"/>
                    <a:pt x="78" y="55"/>
                  </a:cubicBezTo>
                  <a:cubicBezTo>
                    <a:pt x="78" y="55"/>
                    <a:pt x="94" y="78"/>
                    <a:pt x="89" y="80"/>
                  </a:cubicBezTo>
                  <a:cubicBezTo>
                    <a:pt x="83" y="83"/>
                    <a:pt x="62" y="69"/>
                    <a:pt x="43" y="47"/>
                  </a:cubicBezTo>
                  <a:cubicBezTo>
                    <a:pt x="24" y="24"/>
                    <a:pt x="26" y="14"/>
                    <a:pt x="28" y="14"/>
                  </a:cubicBezTo>
                  <a:cubicBezTo>
                    <a:pt x="34" y="11"/>
                    <a:pt x="55" y="30"/>
                    <a:pt x="55" y="30"/>
                  </a:cubicBezTo>
                  <a:lnTo>
                    <a:pt x="62" y="26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51">
              <a:extLst>
                <a:ext uri="{FF2B5EF4-FFF2-40B4-BE49-F238E27FC236}">
                  <a16:creationId xmlns:a16="http://schemas.microsoft.com/office/drawing/2014/main" id="{74C07973-F2AD-4309-B499-3837D903110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6513" y="1119188"/>
              <a:ext cx="157163" cy="157163"/>
            </a:xfrm>
            <a:custGeom>
              <a:avLst/>
              <a:gdLst>
                <a:gd name="T0" fmla="*/ 34 w 42"/>
                <a:gd name="T1" fmla="*/ 0 h 42"/>
                <a:gd name="T2" fmla="*/ 26 w 42"/>
                <a:gd name="T3" fmla="*/ 8 h 42"/>
                <a:gd name="T4" fmla="*/ 26 w 42"/>
                <a:gd name="T5" fmla="*/ 10 h 42"/>
                <a:gd name="T6" fmla="*/ 25 w 42"/>
                <a:gd name="T7" fmla="*/ 13 h 42"/>
                <a:gd name="T8" fmla="*/ 0 w 42"/>
                <a:gd name="T9" fmla="*/ 29 h 42"/>
                <a:gd name="T10" fmla="*/ 13 w 42"/>
                <a:gd name="T11" fmla="*/ 42 h 42"/>
                <a:gd name="T12" fmla="*/ 29 w 42"/>
                <a:gd name="T13" fmla="*/ 17 h 42"/>
                <a:gd name="T14" fmla="*/ 32 w 42"/>
                <a:gd name="T15" fmla="*/ 16 h 42"/>
                <a:gd name="T16" fmla="*/ 34 w 42"/>
                <a:gd name="T17" fmla="*/ 16 h 42"/>
                <a:gd name="T18" fmla="*/ 42 w 42"/>
                <a:gd name="T19" fmla="*/ 8 h 42"/>
                <a:gd name="T20" fmla="*/ 34 w 42"/>
                <a:gd name="T21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" h="42">
                  <a:moveTo>
                    <a:pt x="34" y="0"/>
                  </a:moveTo>
                  <a:cubicBezTo>
                    <a:pt x="30" y="0"/>
                    <a:pt x="26" y="4"/>
                    <a:pt x="26" y="8"/>
                  </a:cubicBezTo>
                  <a:cubicBezTo>
                    <a:pt x="26" y="9"/>
                    <a:pt x="26" y="9"/>
                    <a:pt x="26" y="10"/>
                  </a:cubicBezTo>
                  <a:cubicBezTo>
                    <a:pt x="26" y="11"/>
                    <a:pt x="25" y="13"/>
                    <a:pt x="25" y="13"/>
                  </a:cubicBezTo>
                  <a:cubicBezTo>
                    <a:pt x="23" y="14"/>
                    <a:pt x="1" y="28"/>
                    <a:pt x="0" y="29"/>
                  </a:cubicBezTo>
                  <a:cubicBezTo>
                    <a:pt x="2" y="35"/>
                    <a:pt x="9" y="40"/>
                    <a:pt x="13" y="42"/>
                  </a:cubicBezTo>
                  <a:cubicBezTo>
                    <a:pt x="14" y="41"/>
                    <a:pt x="28" y="18"/>
                    <a:pt x="29" y="17"/>
                  </a:cubicBezTo>
                  <a:cubicBezTo>
                    <a:pt x="30" y="16"/>
                    <a:pt x="31" y="16"/>
                    <a:pt x="32" y="16"/>
                  </a:cubicBezTo>
                  <a:cubicBezTo>
                    <a:pt x="33" y="16"/>
                    <a:pt x="33" y="16"/>
                    <a:pt x="34" y="16"/>
                  </a:cubicBezTo>
                  <a:cubicBezTo>
                    <a:pt x="38" y="16"/>
                    <a:pt x="42" y="12"/>
                    <a:pt x="42" y="8"/>
                  </a:cubicBezTo>
                  <a:cubicBezTo>
                    <a:pt x="42" y="4"/>
                    <a:pt x="38" y="0"/>
                    <a:pt x="34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0" name="Group 12513">
            <a:extLst>
              <a:ext uri="{FF2B5EF4-FFF2-40B4-BE49-F238E27FC236}">
                <a16:creationId xmlns:a16="http://schemas.microsoft.com/office/drawing/2014/main" id="{70FFAFF4-5C0E-4369-87EF-0A1FBB5EBA56}"/>
              </a:ext>
            </a:extLst>
          </p:cNvPr>
          <p:cNvGrpSpPr/>
          <p:nvPr userDrawn="1"/>
        </p:nvGrpSpPr>
        <p:grpSpPr>
          <a:xfrm>
            <a:off x="644689" y="2025653"/>
            <a:ext cx="527408" cy="330296"/>
            <a:chOff x="-84138" y="2127250"/>
            <a:chExt cx="628651" cy="393701"/>
          </a:xfrm>
        </p:grpSpPr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1C302D94-8088-442F-AB2E-4B626576E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84138" y="2127250"/>
              <a:ext cx="539750" cy="360363"/>
            </a:xfrm>
            <a:custGeom>
              <a:avLst/>
              <a:gdLst>
                <a:gd name="T0" fmla="*/ 131 w 144"/>
                <a:gd name="T1" fmla="*/ 65 h 96"/>
                <a:gd name="T2" fmla="*/ 144 w 144"/>
                <a:gd name="T3" fmla="*/ 65 h 96"/>
                <a:gd name="T4" fmla="*/ 127 w 144"/>
                <a:gd name="T5" fmla="*/ 40 h 96"/>
                <a:gd name="T6" fmla="*/ 62 w 144"/>
                <a:gd name="T7" fmla="*/ 23 h 96"/>
                <a:gd name="T8" fmla="*/ 34 w 144"/>
                <a:gd name="T9" fmla="*/ 39 h 96"/>
                <a:gd name="T10" fmla="*/ 42 w 144"/>
                <a:gd name="T11" fmla="*/ 96 h 96"/>
                <a:gd name="T12" fmla="*/ 42 w 144"/>
                <a:gd name="T13" fmla="*/ 84 h 96"/>
                <a:gd name="T14" fmla="*/ 46 w 144"/>
                <a:gd name="T15" fmla="*/ 50 h 96"/>
                <a:gd name="T16" fmla="*/ 66 w 144"/>
                <a:gd name="T17" fmla="*/ 39 h 96"/>
                <a:gd name="T18" fmla="*/ 115 w 144"/>
                <a:gd name="T19" fmla="*/ 50 h 96"/>
                <a:gd name="T20" fmla="*/ 131 w 144"/>
                <a:gd name="T21" fmla="*/ 6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4" h="96">
                  <a:moveTo>
                    <a:pt x="131" y="65"/>
                  </a:moveTo>
                  <a:cubicBezTo>
                    <a:pt x="144" y="65"/>
                    <a:pt x="144" y="65"/>
                    <a:pt x="144" y="65"/>
                  </a:cubicBezTo>
                  <a:cubicBezTo>
                    <a:pt x="144" y="65"/>
                    <a:pt x="143" y="49"/>
                    <a:pt x="127" y="40"/>
                  </a:cubicBezTo>
                  <a:cubicBezTo>
                    <a:pt x="116" y="0"/>
                    <a:pt x="75" y="6"/>
                    <a:pt x="62" y="23"/>
                  </a:cubicBezTo>
                  <a:cubicBezTo>
                    <a:pt x="39" y="19"/>
                    <a:pt x="35" y="38"/>
                    <a:pt x="34" y="39"/>
                  </a:cubicBezTo>
                  <a:cubicBezTo>
                    <a:pt x="0" y="53"/>
                    <a:pt x="13" y="96"/>
                    <a:pt x="42" y="96"/>
                  </a:cubicBezTo>
                  <a:cubicBezTo>
                    <a:pt x="42" y="91"/>
                    <a:pt x="42" y="87"/>
                    <a:pt x="42" y="84"/>
                  </a:cubicBezTo>
                  <a:cubicBezTo>
                    <a:pt x="21" y="82"/>
                    <a:pt x="20" y="46"/>
                    <a:pt x="46" y="50"/>
                  </a:cubicBezTo>
                  <a:cubicBezTo>
                    <a:pt x="43" y="43"/>
                    <a:pt x="53" y="28"/>
                    <a:pt x="66" y="39"/>
                  </a:cubicBezTo>
                  <a:cubicBezTo>
                    <a:pt x="81" y="8"/>
                    <a:pt x="118" y="27"/>
                    <a:pt x="115" y="50"/>
                  </a:cubicBezTo>
                  <a:cubicBezTo>
                    <a:pt x="130" y="51"/>
                    <a:pt x="131" y="65"/>
                    <a:pt x="131" y="65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435BF7AC-C51F-4395-9D90-1BF61586F2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300" y="2411413"/>
              <a:ext cx="430213" cy="109538"/>
            </a:xfrm>
            <a:custGeom>
              <a:avLst/>
              <a:gdLst>
                <a:gd name="T0" fmla="*/ 0 w 115"/>
                <a:gd name="T1" fmla="*/ 0 h 29"/>
                <a:gd name="T2" fmla="*/ 0 w 115"/>
                <a:gd name="T3" fmla="*/ 29 h 29"/>
                <a:gd name="T4" fmla="*/ 115 w 115"/>
                <a:gd name="T5" fmla="*/ 29 h 29"/>
                <a:gd name="T6" fmla="*/ 115 w 115"/>
                <a:gd name="T7" fmla="*/ 0 h 29"/>
                <a:gd name="T8" fmla="*/ 0 w 115"/>
                <a:gd name="T9" fmla="*/ 0 h 29"/>
                <a:gd name="T10" fmla="*/ 8 w 115"/>
                <a:gd name="T11" fmla="*/ 21 h 29"/>
                <a:gd name="T12" fmla="*/ 13 w 115"/>
                <a:gd name="T13" fmla="*/ 8 h 29"/>
                <a:gd name="T14" fmla="*/ 19 w 115"/>
                <a:gd name="T15" fmla="*/ 8 h 29"/>
                <a:gd name="T16" fmla="*/ 14 w 115"/>
                <a:gd name="T17" fmla="*/ 21 h 29"/>
                <a:gd name="T18" fmla="*/ 8 w 115"/>
                <a:gd name="T19" fmla="*/ 21 h 29"/>
                <a:gd name="T20" fmla="*/ 18 w 115"/>
                <a:gd name="T21" fmla="*/ 21 h 29"/>
                <a:gd name="T22" fmla="*/ 23 w 115"/>
                <a:gd name="T23" fmla="*/ 8 h 29"/>
                <a:gd name="T24" fmla="*/ 29 w 115"/>
                <a:gd name="T25" fmla="*/ 8 h 29"/>
                <a:gd name="T26" fmla="*/ 24 w 115"/>
                <a:gd name="T27" fmla="*/ 21 h 29"/>
                <a:gd name="T28" fmla="*/ 18 w 115"/>
                <a:gd name="T29" fmla="*/ 21 h 29"/>
                <a:gd name="T30" fmla="*/ 28 w 115"/>
                <a:gd name="T31" fmla="*/ 21 h 29"/>
                <a:gd name="T32" fmla="*/ 33 w 115"/>
                <a:gd name="T33" fmla="*/ 8 h 29"/>
                <a:gd name="T34" fmla="*/ 39 w 115"/>
                <a:gd name="T35" fmla="*/ 8 h 29"/>
                <a:gd name="T36" fmla="*/ 34 w 115"/>
                <a:gd name="T37" fmla="*/ 21 h 29"/>
                <a:gd name="T38" fmla="*/ 28 w 115"/>
                <a:gd name="T39" fmla="*/ 21 h 29"/>
                <a:gd name="T40" fmla="*/ 37 w 115"/>
                <a:gd name="T41" fmla="*/ 21 h 29"/>
                <a:gd name="T42" fmla="*/ 42 w 115"/>
                <a:gd name="T43" fmla="*/ 8 h 29"/>
                <a:gd name="T44" fmla="*/ 48 w 115"/>
                <a:gd name="T45" fmla="*/ 8 h 29"/>
                <a:gd name="T46" fmla="*/ 44 w 115"/>
                <a:gd name="T47" fmla="*/ 21 h 29"/>
                <a:gd name="T48" fmla="*/ 37 w 115"/>
                <a:gd name="T49" fmla="*/ 21 h 29"/>
                <a:gd name="T50" fmla="*/ 54 w 115"/>
                <a:gd name="T51" fmla="*/ 21 h 29"/>
                <a:gd name="T52" fmla="*/ 47 w 115"/>
                <a:gd name="T53" fmla="*/ 21 h 29"/>
                <a:gd name="T54" fmla="*/ 52 w 115"/>
                <a:gd name="T55" fmla="*/ 8 h 29"/>
                <a:gd name="T56" fmla="*/ 58 w 115"/>
                <a:gd name="T57" fmla="*/ 8 h 29"/>
                <a:gd name="T58" fmla="*/ 54 w 115"/>
                <a:gd name="T59" fmla="*/ 21 h 29"/>
                <a:gd name="T60" fmla="*/ 101 w 115"/>
                <a:gd name="T61" fmla="*/ 19 h 29"/>
                <a:gd name="T62" fmla="*/ 97 w 115"/>
                <a:gd name="T63" fmla="*/ 15 h 29"/>
                <a:gd name="T64" fmla="*/ 101 w 115"/>
                <a:gd name="T65" fmla="*/ 10 h 29"/>
                <a:gd name="T66" fmla="*/ 105 w 115"/>
                <a:gd name="T67" fmla="*/ 15 h 29"/>
                <a:gd name="T68" fmla="*/ 101 w 115"/>
                <a:gd name="T69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5" h="29">
                  <a:moveTo>
                    <a:pt x="0" y="0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5" y="0"/>
                    <a:pt x="115" y="0"/>
                    <a:pt x="115" y="0"/>
                  </a:cubicBezTo>
                  <a:lnTo>
                    <a:pt x="0" y="0"/>
                  </a:lnTo>
                  <a:close/>
                  <a:moveTo>
                    <a:pt x="8" y="21"/>
                  </a:moveTo>
                  <a:cubicBezTo>
                    <a:pt x="13" y="8"/>
                    <a:pt x="13" y="8"/>
                    <a:pt x="13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4" y="21"/>
                    <a:pt x="14" y="21"/>
                    <a:pt x="14" y="21"/>
                  </a:cubicBezTo>
                  <a:lnTo>
                    <a:pt x="8" y="21"/>
                  </a:lnTo>
                  <a:close/>
                  <a:moveTo>
                    <a:pt x="18" y="21"/>
                  </a:moveTo>
                  <a:cubicBezTo>
                    <a:pt x="23" y="8"/>
                    <a:pt x="23" y="8"/>
                    <a:pt x="23" y="8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24" y="21"/>
                    <a:pt x="24" y="21"/>
                    <a:pt x="24" y="21"/>
                  </a:cubicBezTo>
                  <a:lnTo>
                    <a:pt x="18" y="21"/>
                  </a:lnTo>
                  <a:close/>
                  <a:moveTo>
                    <a:pt x="28" y="21"/>
                  </a:moveTo>
                  <a:cubicBezTo>
                    <a:pt x="33" y="8"/>
                    <a:pt x="33" y="8"/>
                    <a:pt x="33" y="8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34" y="21"/>
                    <a:pt x="34" y="21"/>
                    <a:pt x="34" y="21"/>
                  </a:cubicBezTo>
                  <a:lnTo>
                    <a:pt x="28" y="21"/>
                  </a:lnTo>
                  <a:close/>
                  <a:moveTo>
                    <a:pt x="37" y="21"/>
                  </a:moveTo>
                  <a:cubicBezTo>
                    <a:pt x="42" y="8"/>
                    <a:pt x="42" y="8"/>
                    <a:pt x="42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4" y="21"/>
                    <a:pt x="44" y="21"/>
                    <a:pt x="44" y="21"/>
                  </a:cubicBezTo>
                  <a:lnTo>
                    <a:pt x="37" y="21"/>
                  </a:lnTo>
                  <a:close/>
                  <a:moveTo>
                    <a:pt x="54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8" y="8"/>
                    <a:pt x="58" y="8"/>
                    <a:pt x="58" y="8"/>
                  </a:cubicBezTo>
                  <a:lnTo>
                    <a:pt x="54" y="21"/>
                  </a:lnTo>
                  <a:close/>
                  <a:moveTo>
                    <a:pt x="101" y="19"/>
                  </a:moveTo>
                  <a:cubicBezTo>
                    <a:pt x="99" y="19"/>
                    <a:pt x="97" y="17"/>
                    <a:pt x="97" y="15"/>
                  </a:cubicBezTo>
                  <a:cubicBezTo>
                    <a:pt x="97" y="12"/>
                    <a:pt x="99" y="10"/>
                    <a:pt x="101" y="10"/>
                  </a:cubicBezTo>
                  <a:cubicBezTo>
                    <a:pt x="103" y="10"/>
                    <a:pt x="105" y="12"/>
                    <a:pt x="105" y="15"/>
                  </a:cubicBezTo>
                  <a:cubicBezTo>
                    <a:pt x="105" y="17"/>
                    <a:pt x="103" y="19"/>
                    <a:pt x="101" y="1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3" name="Group 12514">
            <a:extLst>
              <a:ext uri="{FF2B5EF4-FFF2-40B4-BE49-F238E27FC236}">
                <a16:creationId xmlns:a16="http://schemas.microsoft.com/office/drawing/2014/main" id="{3EE00F41-5B7E-40DA-93F9-0E4722CEFFC5}"/>
              </a:ext>
            </a:extLst>
          </p:cNvPr>
          <p:cNvGrpSpPr/>
          <p:nvPr userDrawn="1"/>
        </p:nvGrpSpPr>
        <p:grpSpPr>
          <a:xfrm>
            <a:off x="1586288" y="1976149"/>
            <a:ext cx="472802" cy="452825"/>
            <a:chOff x="1009650" y="2089150"/>
            <a:chExt cx="563563" cy="539751"/>
          </a:xfrm>
        </p:grpSpPr>
        <p:sp>
          <p:nvSpPr>
            <p:cNvPr id="64" name="Freeform 54">
              <a:extLst>
                <a:ext uri="{FF2B5EF4-FFF2-40B4-BE49-F238E27FC236}">
                  <a16:creationId xmlns:a16="http://schemas.microsoft.com/office/drawing/2014/main" id="{7E5DC641-3056-4760-91B3-2B0799C67B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650" y="2089150"/>
              <a:ext cx="563563" cy="420688"/>
            </a:xfrm>
            <a:custGeom>
              <a:avLst/>
              <a:gdLst>
                <a:gd name="T0" fmla="*/ 131 w 150"/>
                <a:gd name="T1" fmla="*/ 52 h 112"/>
                <a:gd name="T2" fmla="*/ 62 w 150"/>
                <a:gd name="T3" fmla="*/ 34 h 112"/>
                <a:gd name="T4" fmla="*/ 33 w 150"/>
                <a:gd name="T5" fmla="*/ 50 h 112"/>
                <a:gd name="T6" fmla="*/ 42 w 150"/>
                <a:gd name="T7" fmla="*/ 111 h 112"/>
                <a:gd name="T8" fmla="*/ 117 w 150"/>
                <a:gd name="T9" fmla="*/ 111 h 112"/>
                <a:gd name="T10" fmla="*/ 147 w 150"/>
                <a:gd name="T11" fmla="*/ 85 h 112"/>
                <a:gd name="T12" fmla="*/ 131 w 150"/>
                <a:gd name="T13" fmla="*/ 52 h 112"/>
                <a:gd name="T14" fmla="*/ 119 w 150"/>
                <a:gd name="T15" fmla="*/ 97 h 112"/>
                <a:gd name="T16" fmla="*/ 40 w 150"/>
                <a:gd name="T17" fmla="*/ 97 h 112"/>
                <a:gd name="T18" fmla="*/ 45 w 150"/>
                <a:gd name="T19" fmla="*/ 62 h 112"/>
                <a:gd name="T20" fmla="*/ 67 w 150"/>
                <a:gd name="T21" fmla="*/ 51 h 112"/>
                <a:gd name="T22" fmla="*/ 118 w 150"/>
                <a:gd name="T23" fmla="*/ 62 h 112"/>
                <a:gd name="T24" fmla="*/ 119 w 150"/>
                <a:gd name="T25" fmla="*/ 9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" h="112">
                  <a:moveTo>
                    <a:pt x="131" y="52"/>
                  </a:moveTo>
                  <a:cubicBezTo>
                    <a:pt x="131" y="35"/>
                    <a:pt x="95" y="0"/>
                    <a:pt x="62" y="34"/>
                  </a:cubicBezTo>
                  <a:cubicBezTo>
                    <a:pt x="38" y="30"/>
                    <a:pt x="35" y="47"/>
                    <a:pt x="33" y="50"/>
                  </a:cubicBezTo>
                  <a:cubicBezTo>
                    <a:pt x="0" y="60"/>
                    <a:pt x="6" y="111"/>
                    <a:pt x="42" y="111"/>
                  </a:cubicBezTo>
                  <a:cubicBezTo>
                    <a:pt x="67" y="111"/>
                    <a:pt x="117" y="111"/>
                    <a:pt x="117" y="111"/>
                  </a:cubicBezTo>
                  <a:cubicBezTo>
                    <a:pt x="117" y="111"/>
                    <a:pt x="144" y="112"/>
                    <a:pt x="147" y="85"/>
                  </a:cubicBezTo>
                  <a:cubicBezTo>
                    <a:pt x="150" y="61"/>
                    <a:pt x="135" y="54"/>
                    <a:pt x="131" y="52"/>
                  </a:cubicBezTo>
                  <a:close/>
                  <a:moveTo>
                    <a:pt x="119" y="97"/>
                  </a:moveTo>
                  <a:cubicBezTo>
                    <a:pt x="106" y="97"/>
                    <a:pt x="59" y="97"/>
                    <a:pt x="40" y="97"/>
                  </a:cubicBezTo>
                  <a:cubicBezTo>
                    <a:pt x="18" y="97"/>
                    <a:pt x="19" y="60"/>
                    <a:pt x="45" y="62"/>
                  </a:cubicBezTo>
                  <a:cubicBezTo>
                    <a:pt x="43" y="43"/>
                    <a:pt x="65" y="45"/>
                    <a:pt x="67" y="51"/>
                  </a:cubicBezTo>
                  <a:cubicBezTo>
                    <a:pt x="84" y="16"/>
                    <a:pt x="123" y="39"/>
                    <a:pt x="118" y="62"/>
                  </a:cubicBezTo>
                  <a:cubicBezTo>
                    <a:pt x="145" y="65"/>
                    <a:pt x="136" y="97"/>
                    <a:pt x="119" y="97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0E9A55B5-99AF-476E-93C8-AFB700C796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1250" y="2581275"/>
              <a:ext cx="98425" cy="47625"/>
            </a:xfrm>
            <a:prstGeom prst="rect">
              <a:avLst/>
            </a:pr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7BCE7377-8E80-4152-8B2C-246A377E41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8112" y="2581275"/>
              <a:ext cx="101600" cy="47625"/>
            </a:xfrm>
            <a:prstGeom prst="rect">
              <a:avLst/>
            </a:pr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EA573300-09A6-4A68-95FC-1A51EB16E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8250" y="2532063"/>
              <a:ext cx="142875" cy="96838"/>
            </a:xfrm>
            <a:custGeom>
              <a:avLst/>
              <a:gdLst>
                <a:gd name="T0" fmla="*/ 62 w 90"/>
                <a:gd name="T1" fmla="*/ 31 h 61"/>
                <a:gd name="T2" fmla="*/ 62 w 90"/>
                <a:gd name="T3" fmla="*/ 0 h 61"/>
                <a:gd name="T4" fmla="*/ 26 w 90"/>
                <a:gd name="T5" fmla="*/ 0 h 61"/>
                <a:gd name="T6" fmla="*/ 26 w 90"/>
                <a:gd name="T7" fmla="*/ 31 h 61"/>
                <a:gd name="T8" fmla="*/ 0 w 90"/>
                <a:gd name="T9" fmla="*/ 31 h 61"/>
                <a:gd name="T10" fmla="*/ 0 w 90"/>
                <a:gd name="T11" fmla="*/ 61 h 61"/>
                <a:gd name="T12" fmla="*/ 90 w 90"/>
                <a:gd name="T13" fmla="*/ 61 h 61"/>
                <a:gd name="T14" fmla="*/ 90 w 90"/>
                <a:gd name="T15" fmla="*/ 31 h 61"/>
                <a:gd name="T16" fmla="*/ 62 w 90"/>
                <a:gd name="T17" fmla="*/ 3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0" h="61">
                  <a:moveTo>
                    <a:pt x="62" y="31"/>
                  </a:moveTo>
                  <a:lnTo>
                    <a:pt x="62" y="0"/>
                  </a:lnTo>
                  <a:lnTo>
                    <a:pt x="26" y="0"/>
                  </a:lnTo>
                  <a:lnTo>
                    <a:pt x="26" y="31"/>
                  </a:lnTo>
                  <a:lnTo>
                    <a:pt x="0" y="31"/>
                  </a:lnTo>
                  <a:lnTo>
                    <a:pt x="0" y="61"/>
                  </a:lnTo>
                  <a:lnTo>
                    <a:pt x="90" y="61"/>
                  </a:lnTo>
                  <a:lnTo>
                    <a:pt x="90" y="31"/>
                  </a:lnTo>
                  <a:lnTo>
                    <a:pt x="62" y="31"/>
                  </a:ln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8" name="Group 12505">
            <a:extLst>
              <a:ext uri="{FF2B5EF4-FFF2-40B4-BE49-F238E27FC236}">
                <a16:creationId xmlns:a16="http://schemas.microsoft.com/office/drawing/2014/main" id="{1E84D634-FE1C-4699-A42D-49A1DEF48064}"/>
              </a:ext>
            </a:extLst>
          </p:cNvPr>
          <p:cNvGrpSpPr/>
          <p:nvPr userDrawn="1"/>
        </p:nvGrpSpPr>
        <p:grpSpPr>
          <a:xfrm>
            <a:off x="2506363" y="2016504"/>
            <a:ext cx="471470" cy="352937"/>
            <a:chOff x="2124075" y="2089150"/>
            <a:chExt cx="561975" cy="420688"/>
          </a:xfrm>
        </p:grpSpPr>
        <p:sp>
          <p:nvSpPr>
            <p:cNvPr id="69" name="Freeform 58">
              <a:extLst>
                <a:ext uri="{FF2B5EF4-FFF2-40B4-BE49-F238E27FC236}">
                  <a16:creationId xmlns:a16="http://schemas.microsoft.com/office/drawing/2014/main" id="{89703445-9608-4A43-AB20-50116E0732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4075" y="2089150"/>
              <a:ext cx="561975" cy="420688"/>
            </a:xfrm>
            <a:custGeom>
              <a:avLst/>
              <a:gdLst>
                <a:gd name="T0" fmla="*/ 131 w 150"/>
                <a:gd name="T1" fmla="*/ 52 h 112"/>
                <a:gd name="T2" fmla="*/ 63 w 150"/>
                <a:gd name="T3" fmla="*/ 34 h 112"/>
                <a:gd name="T4" fmla="*/ 33 w 150"/>
                <a:gd name="T5" fmla="*/ 50 h 112"/>
                <a:gd name="T6" fmla="*/ 43 w 150"/>
                <a:gd name="T7" fmla="*/ 111 h 112"/>
                <a:gd name="T8" fmla="*/ 118 w 150"/>
                <a:gd name="T9" fmla="*/ 111 h 112"/>
                <a:gd name="T10" fmla="*/ 148 w 150"/>
                <a:gd name="T11" fmla="*/ 85 h 112"/>
                <a:gd name="T12" fmla="*/ 131 w 150"/>
                <a:gd name="T13" fmla="*/ 52 h 112"/>
                <a:gd name="T14" fmla="*/ 120 w 150"/>
                <a:gd name="T15" fmla="*/ 97 h 112"/>
                <a:gd name="T16" fmla="*/ 41 w 150"/>
                <a:gd name="T17" fmla="*/ 97 h 112"/>
                <a:gd name="T18" fmla="*/ 45 w 150"/>
                <a:gd name="T19" fmla="*/ 62 h 112"/>
                <a:gd name="T20" fmla="*/ 67 w 150"/>
                <a:gd name="T21" fmla="*/ 51 h 112"/>
                <a:gd name="T22" fmla="*/ 119 w 150"/>
                <a:gd name="T23" fmla="*/ 62 h 112"/>
                <a:gd name="T24" fmla="*/ 120 w 150"/>
                <a:gd name="T25" fmla="*/ 9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" h="112">
                  <a:moveTo>
                    <a:pt x="131" y="52"/>
                  </a:moveTo>
                  <a:cubicBezTo>
                    <a:pt x="132" y="35"/>
                    <a:pt x="96" y="0"/>
                    <a:pt x="63" y="34"/>
                  </a:cubicBezTo>
                  <a:cubicBezTo>
                    <a:pt x="39" y="30"/>
                    <a:pt x="35" y="47"/>
                    <a:pt x="33" y="50"/>
                  </a:cubicBezTo>
                  <a:cubicBezTo>
                    <a:pt x="0" y="60"/>
                    <a:pt x="6" y="111"/>
                    <a:pt x="43" y="111"/>
                  </a:cubicBezTo>
                  <a:cubicBezTo>
                    <a:pt x="68" y="111"/>
                    <a:pt x="118" y="111"/>
                    <a:pt x="118" y="111"/>
                  </a:cubicBezTo>
                  <a:cubicBezTo>
                    <a:pt x="118" y="111"/>
                    <a:pt x="145" y="112"/>
                    <a:pt x="148" y="85"/>
                  </a:cubicBezTo>
                  <a:cubicBezTo>
                    <a:pt x="150" y="61"/>
                    <a:pt x="135" y="54"/>
                    <a:pt x="131" y="52"/>
                  </a:cubicBezTo>
                  <a:close/>
                  <a:moveTo>
                    <a:pt x="120" y="97"/>
                  </a:moveTo>
                  <a:cubicBezTo>
                    <a:pt x="106" y="97"/>
                    <a:pt x="59" y="97"/>
                    <a:pt x="41" y="97"/>
                  </a:cubicBezTo>
                  <a:cubicBezTo>
                    <a:pt x="19" y="97"/>
                    <a:pt x="19" y="60"/>
                    <a:pt x="45" y="62"/>
                  </a:cubicBezTo>
                  <a:cubicBezTo>
                    <a:pt x="44" y="43"/>
                    <a:pt x="65" y="45"/>
                    <a:pt x="67" y="51"/>
                  </a:cubicBezTo>
                  <a:cubicBezTo>
                    <a:pt x="84" y="16"/>
                    <a:pt x="123" y="39"/>
                    <a:pt x="119" y="62"/>
                  </a:cubicBezTo>
                  <a:cubicBezTo>
                    <a:pt x="145" y="65"/>
                    <a:pt x="137" y="97"/>
                    <a:pt x="120" y="97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 59">
              <a:extLst>
                <a:ext uri="{FF2B5EF4-FFF2-40B4-BE49-F238E27FC236}">
                  <a16:creationId xmlns:a16="http://schemas.microsoft.com/office/drawing/2014/main" id="{9B6A709F-8559-4D76-897E-69C57718C2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1562" y="2270125"/>
              <a:ext cx="176213" cy="153988"/>
            </a:xfrm>
            <a:custGeom>
              <a:avLst/>
              <a:gdLst>
                <a:gd name="T0" fmla="*/ 4 w 47"/>
                <a:gd name="T1" fmla="*/ 17 h 41"/>
                <a:gd name="T2" fmla="*/ 17 w 47"/>
                <a:gd name="T3" fmla="*/ 25 h 41"/>
                <a:gd name="T4" fmla="*/ 46 w 47"/>
                <a:gd name="T5" fmla="*/ 0 h 41"/>
                <a:gd name="T6" fmla="*/ 47 w 47"/>
                <a:gd name="T7" fmla="*/ 3 h 41"/>
                <a:gd name="T8" fmla="*/ 19 w 47"/>
                <a:gd name="T9" fmla="*/ 41 h 41"/>
                <a:gd name="T10" fmla="*/ 0 w 47"/>
                <a:gd name="T11" fmla="*/ 21 h 41"/>
                <a:gd name="T12" fmla="*/ 4 w 47"/>
                <a:gd name="T13" fmla="*/ 1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41">
                  <a:moveTo>
                    <a:pt x="4" y="17"/>
                  </a:move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29" y="10"/>
                    <a:pt x="46" y="0"/>
                  </a:cubicBezTo>
                  <a:cubicBezTo>
                    <a:pt x="47" y="2"/>
                    <a:pt x="46" y="1"/>
                    <a:pt x="47" y="3"/>
                  </a:cubicBezTo>
                  <a:cubicBezTo>
                    <a:pt x="33" y="15"/>
                    <a:pt x="19" y="41"/>
                    <a:pt x="19" y="41"/>
                  </a:cubicBezTo>
                  <a:cubicBezTo>
                    <a:pt x="0" y="21"/>
                    <a:pt x="0" y="21"/>
                    <a:pt x="0" y="21"/>
                  </a:cubicBezTo>
                  <a:lnTo>
                    <a:pt x="4" y="17"/>
                  </a:ln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1" name="Group 12506">
            <a:extLst>
              <a:ext uri="{FF2B5EF4-FFF2-40B4-BE49-F238E27FC236}">
                <a16:creationId xmlns:a16="http://schemas.microsoft.com/office/drawing/2014/main" id="{6922DA5D-86C9-4B2F-BEE6-DA9A4E9006B6}"/>
              </a:ext>
            </a:extLst>
          </p:cNvPr>
          <p:cNvGrpSpPr/>
          <p:nvPr userDrawn="1"/>
        </p:nvGrpSpPr>
        <p:grpSpPr>
          <a:xfrm>
            <a:off x="3425361" y="2017042"/>
            <a:ext cx="472803" cy="351605"/>
            <a:chOff x="3203575" y="2093913"/>
            <a:chExt cx="563563" cy="419100"/>
          </a:xfrm>
        </p:grpSpPr>
        <p:sp>
          <p:nvSpPr>
            <p:cNvPr id="72" name="Freeform 60">
              <a:extLst>
                <a:ext uri="{FF2B5EF4-FFF2-40B4-BE49-F238E27FC236}">
                  <a16:creationId xmlns:a16="http://schemas.microsoft.com/office/drawing/2014/main" id="{0176DD77-83B9-4A15-AD63-DE9F0A872A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3575" y="2093913"/>
              <a:ext cx="563563" cy="419100"/>
            </a:xfrm>
            <a:custGeom>
              <a:avLst/>
              <a:gdLst>
                <a:gd name="T0" fmla="*/ 131 w 150"/>
                <a:gd name="T1" fmla="*/ 52 h 112"/>
                <a:gd name="T2" fmla="*/ 63 w 150"/>
                <a:gd name="T3" fmla="*/ 34 h 112"/>
                <a:gd name="T4" fmla="*/ 33 w 150"/>
                <a:gd name="T5" fmla="*/ 50 h 112"/>
                <a:gd name="T6" fmla="*/ 42 w 150"/>
                <a:gd name="T7" fmla="*/ 111 h 112"/>
                <a:gd name="T8" fmla="*/ 118 w 150"/>
                <a:gd name="T9" fmla="*/ 111 h 112"/>
                <a:gd name="T10" fmla="*/ 148 w 150"/>
                <a:gd name="T11" fmla="*/ 85 h 112"/>
                <a:gd name="T12" fmla="*/ 131 w 150"/>
                <a:gd name="T13" fmla="*/ 52 h 112"/>
                <a:gd name="T14" fmla="*/ 120 w 150"/>
                <a:gd name="T15" fmla="*/ 97 h 112"/>
                <a:gd name="T16" fmla="*/ 41 w 150"/>
                <a:gd name="T17" fmla="*/ 97 h 112"/>
                <a:gd name="T18" fmla="*/ 45 w 150"/>
                <a:gd name="T19" fmla="*/ 62 h 112"/>
                <a:gd name="T20" fmla="*/ 67 w 150"/>
                <a:gd name="T21" fmla="*/ 51 h 112"/>
                <a:gd name="T22" fmla="*/ 119 w 150"/>
                <a:gd name="T23" fmla="*/ 62 h 112"/>
                <a:gd name="T24" fmla="*/ 120 w 150"/>
                <a:gd name="T25" fmla="*/ 9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" h="112">
                  <a:moveTo>
                    <a:pt x="131" y="52"/>
                  </a:moveTo>
                  <a:cubicBezTo>
                    <a:pt x="132" y="35"/>
                    <a:pt x="96" y="0"/>
                    <a:pt x="63" y="34"/>
                  </a:cubicBezTo>
                  <a:cubicBezTo>
                    <a:pt x="39" y="30"/>
                    <a:pt x="35" y="48"/>
                    <a:pt x="33" y="50"/>
                  </a:cubicBezTo>
                  <a:cubicBezTo>
                    <a:pt x="0" y="60"/>
                    <a:pt x="6" y="111"/>
                    <a:pt x="42" y="111"/>
                  </a:cubicBezTo>
                  <a:cubicBezTo>
                    <a:pt x="67" y="111"/>
                    <a:pt x="118" y="111"/>
                    <a:pt x="118" y="111"/>
                  </a:cubicBezTo>
                  <a:cubicBezTo>
                    <a:pt x="118" y="111"/>
                    <a:pt x="145" y="112"/>
                    <a:pt x="148" y="85"/>
                  </a:cubicBezTo>
                  <a:cubicBezTo>
                    <a:pt x="150" y="61"/>
                    <a:pt x="135" y="54"/>
                    <a:pt x="131" y="52"/>
                  </a:cubicBezTo>
                  <a:close/>
                  <a:moveTo>
                    <a:pt x="120" y="97"/>
                  </a:moveTo>
                  <a:cubicBezTo>
                    <a:pt x="106" y="97"/>
                    <a:pt x="59" y="97"/>
                    <a:pt x="41" y="97"/>
                  </a:cubicBezTo>
                  <a:cubicBezTo>
                    <a:pt x="19" y="97"/>
                    <a:pt x="19" y="60"/>
                    <a:pt x="45" y="62"/>
                  </a:cubicBezTo>
                  <a:cubicBezTo>
                    <a:pt x="43" y="43"/>
                    <a:pt x="65" y="45"/>
                    <a:pt x="67" y="51"/>
                  </a:cubicBezTo>
                  <a:cubicBezTo>
                    <a:pt x="84" y="16"/>
                    <a:pt x="123" y="39"/>
                    <a:pt x="119" y="62"/>
                  </a:cubicBezTo>
                  <a:cubicBezTo>
                    <a:pt x="145" y="65"/>
                    <a:pt x="137" y="97"/>
                    <a:pt x="120" y="97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 61">
              <a:extLst>
                <a:ext uri="{FF2B5EF4-FFF2-40B4-BE49-F238E27FC236}">
                  <a16:creationId xmlns:a16="http://schemas.microsoft.com/office/drawing/2014/main" id="{90D7C4BE-67E9-467C-9310-0D415DE7E9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062" y="2287588"/>
              <a:ext cx="142875" cy="106363"/>
            </a:xfrm>
            <a:custGeom>
              <a:avLst/>
              <a:gdLst>
                <a:gd name="T0" fmla="*/ 13 w 38"/>
                <a:gd name="T1" fmla="*/ 19 h 28"/>
                <a:gd name="T2" fmla="*/ 25 w 38"/>
                <a:gd name="T3" fmla="*/ 7 h 28"/>
                <a:gd name="T4" fmla="*/ 32 w 38"/>
                <a:gd name="T5" fmla="*/ 9 h 28"/>
                <a:gd name="T6" fmla="*/ 38 w 38"/>
                <a:gd name="T7" fmla="*/ 5 h 28"/>
                <a:gd name="T8" fmla="*/ 25 w 38"/>
                <a:gd name="T9" fmla="*/ 0 h 28"/>
                <a:gd name="T10" fmla="*/ 6 w 38"/>
                <a:gd name="T11" fmla="*/ 19 h 28"/>
                <a:gd name="T12" fmla="*/ 0 w 38"/>
                <a:gd name="T13" fmla="*/ 19 h 28"/>
                <a:gd name="T14" fmla="*/ 9 w 38"/>
                <a:gd name="T15" fmla="*/ 28 h 28"/>
                <a:gd name="T16" fmla="*/ 18 w 38"/>
                <a:gd name="T17" fmla="*/ 19 h 28"/>
                <a:gd name="T18" fmla="*/ 13 w 38"/>
                <a:gd name="T19" fmla="*/ 1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8" h="28">
                  <a:moveTo>
                    <a:pt x="13" y="19"/>
                  </a:moveTo>
                  <a:cubicBezTo>
                    <a:pt x="13" y="12"/>
                    <a:pt x="18" y="7"/>
                    <a:pt x="25" y="7"/>
                  </a:cubicBezTo>
                  <a:cubicBezTo>
                    <a:pt x="28" y="7"/>
                    <a:pt x="30" y="8"/>
                    <a:pt x="32" y="9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4" y="2"/>
                    <a:pt x="30" y="0"/>
                    <a:pt x="25" y="0"/>
                  </a:cubicBezTo>
                  <a:cubicBezTo>
                    <a:pt x="14" y="0"/>
                    <a:pt x="6" y="9"/>
                    <a:pt x="6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8" y="19"/>
                    <a:pt x="18" y="19"/>
                    <a:pt x="18" y="19"/>
                  </a:cubicBezTo>
                  <a:lnTo>
                    <a:pt x="13" y="19"/>
                  </a:ln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62">
              <a:extLst>
                <a:ext uri="{FF2B5EF4-FFF2-40B4-BE49-F238E27FC236}">
                  <a16:creationId xmlns:a16="http://schemas.microsoft.com/office/drawing/2014/main" id="{B030FC16-32A9-4344-B165-2B4F163DA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7100" y="2325688"/>
              <a:ext cx="138113" cy="104775"/>
            </a:xfrm>
            <a:custGeom>
              <a:avLst/>
              <a:gdLst>
                <a:gd name="T0" fmla="*/ 37 w 37"/>
                <a:gd name="T1" fmla="*/ 9 h 28"/>
                <a:gd name="T2" fmla="*/ 29 w 37"/>
                <a:gd name="T3" fmla="*/ 0 h 28"/>
                <a:gd name="T4" fmla="*/ 20 w 37"/>
                <a:gd name="T5" fmla="*/ 9 h 28"/>
                <a:gd name="T6" fmla="*/ 25 w 37"/>
                <a:gd name="T7" fmla="*/ 9 h 28"/>
                <a:gd name="T8" fmla="*/ 25 w 37"/>
                <a:gd name="T9" fmla="*/ 9 h 28"/>
                <a:gd name="T10" fmla="*/ 13 w 37"/>
                <a:gd name="T11" fmla="*/ 22 h 28"/>
                <a:gd name="T12" fmla="*/ 5 w 37"/>
                <a:gd name="T13" fmla="*/ 19 h 28"/>
                <a:gd name="T14" fmla="*/ 0 w 37"/>
                <a:gd name="T15" fmla="*/ 23 h 28"/>
                <a:gd name="T16" fmla="*/ 13 w 37"/>
                <a:gd name="T17" fmla="*/ 28 h 28"/>
                <a:gd name="T18" fmla="*/ 32 w 37"/>
                <a:gd name="T19" fmla="*/ 9 h 28"/>
                <a:gd name="T20" fmla="*/ 32 w 37"/>
                <a:gd name="T21" fmla="*/ 9 h 28"/>
                <a:gd name="T22" fmla="*/ 37 w 37"/>
                <a:gd name="T2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28">
                  <a:moveTo>
                    <a:pt x="37" y="9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16"/>
                    <a:pt x="20" y="22"/>
                    <a:pt x="13" y="22"/>
                  </a:cubicBezTo>
                  <a:cubicBezTo>
                    <a:pt x="10" y="22"/>
                    <a:pt x="7" y="21"/>
                    <a:pt x="5" y="19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3" y="26"/>
                    <a:pt x="8" y="28"/>
                    <a:pt x="13" y="28"/>
                  </a:cubicBezTo>
                  <a:cubicBezTo>
                    <a:pt x="23" y="28"/>
                    <a:pt x="32" y="20"/>
                    <a:pt x="32" y="9"/>
                  </a:cubicBezTo>
                  <a:cubicBezTo>
                    <a:pt x="32" y="9"/>
                    <a:pt x="32" y="9"/>
                    <a:pt x="32" y="9"/>
                  </a:cubicBezTo>
                  <a:lnTo>
                    <a:pt x="37" y="9"/>
                  </a:ln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5" name="Group 12507">
            <a:extLst>
              <a:ext uri="{FF2B5EF4-FFF2-40B4-BE49-F238E27FC236}">
                <a16:creationId xmlns:a16="http://schemas.microsoft.com/office/drawing/2014/main" id="{511A7F51-03D5-4D95-8CA2-A87BB34EC31C}"/>
              </a:ext>
            </a:extLst>
          </p:cNvPr>
          <p:cNvGrpSpPr/>
          <p:nvPr userDrawn="1"/>
        </p:nvGrpSpPr>
        <p:grpSpPr>
          <a:xfrm>
            <a:off x="4345435" y="2015429"/>
            <a:ext cx="471471" cy="355601"/>
            <a:chOff x="4268787" y="2085975"/>
            <a:chExt cx="561976" cy="423863"/>
          </a:xfrm>
        </p:grpSpPr>
        <p:sp>
          <p:nvSpPr>
            <p:cNvPr id="76" name="Freeform 63">
              <a:extLst>
                <a:ext uri="{FF2B5EF4-FFF2-40B4-BE49-F238E27FC236}">
                  <a16:creationId xmlns:a16="http://schemas.microsoft.com/office/drawing/2014/main" id="{6BEDC5C8-1351-42BC-8DD8-A29D470FB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8787" y="2085975"/>
              <a:ext cx="495300" cy="423863"/>
            </a:xfrm>
            <a:custGeom>
              <a:avLst/>
              <a:gdLst>
                <a:gd name="T0" fmla="*/ 90 w 132"/>
                <a:gd name="T1" fmla="*/ 99 h 113"/>
                <a:gd name="T2" fmla="*/ 46 w 132"/>
                <a:gd name="T3" fmla="*/ 99 h 113"/>
                <a:gd name="T4" fmla="*/ 46 w 132"/>
                <a:gd name="T5" fmla="*/ 63 h 113"/>
                <a:gd name="T6" fmla="*/ 68 w 132"/>
                <a:gd name="T7" fmla="*/ 52 h 113"/>
                <a:gd name="T8" fmla="*/ 118 w 132"/>
                <a:gd name="T9" fmla="*/ 50 h 113"/>
                <a:gd name="T10" fmla="*/ 123 w 132"/>
                <a:gd name="T11" fmla="*/ 50 h 113"/>
                <a:gd name="T12" fmla="*/ 132 w 132"/>
                <a:gd name="T13" fmla="*/ 51 h 113"/>
                <a:gd name="T14" fmla="*/ 132 w 132"/>
                <a:gd name="T15" fmla="*/ 51 h 113"/>
                <a:gd name="T16" fmla="*/ 63 w 132"/>
                <a:gd name="T17" fmla="*/ 35 h 113"/>
                <a:gd name="T18" fmla="*/ 34 w 132"/>
                <a:gd name="T19" fmla="*/ 52 h 113"/>
                <a:gd name="T20" fmla="*/ 41 w 132"/>
                <a:gd name="T21" fmla="*/ 113 h 113"/>
                <a:gd name="T22" fmla="*/ 99 w 132"/>
                <a:gd name="T23" fmla="*/ 113 h 113"/>
                <a:gd name="T24" fmla="*/ 90 w 132"/>
                <a:gd name="T2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13">
                  <a:moveTo>
                    <a:pt x="90" y="99"/>
                  </a:moveTo>
                  <a:cubicBezTo>
                    <a:pt x="90" y="99"/>
                    <a:pt x="74" y="99"/>
                    <a:pt x="46" y="99"/>
                  </a:cubicBezTo>
                  <a:cubicBezTo>
                    <a:pt x="17" y="99"/>
                    <a:pt x="20" y="61"/>
                    <a:pt x="46" y="63"/>
                  </a:cubicBezTo>
                  <a:cubicBezTo>
                    <a:pt x="43" y="57"/>
                    <a:pt x="54" y="39"/>
                    <a:pt x="68" y="52"/>
                  </a:cubicBezTo>
                  <a:cubicBezTo>
                    <a:pt x="84" y="20"/>
                    <a:pt x="115" y="38"/>
                    <a:pt x="118" y="50"/>
                  </a:cubicBezTo>
                  <a:cubicBezTo>
                    <a:pt x="119" y="50"/>
                    <a:pt x="121" y="50"/>
                    <a:pt x="123" y="50"/>
                  </a:cubicBezTo>
                  <a:cubicBezTo>
                    <a:pt x="126" y="50"/>
                    <a:pt x="129" y="50"/>
                    <a:pt x="132" y="51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32" y="37"/>
                    <a:pt x="99" y="0"/>
                    <a:pt x="63" y="35"/>
                  </a:cubicBezTo>
                  <a:cubicBezTo>
                    <a:pt x="38" y="32"/>
                    <a:pt x="36" y="50"/>
                    <a:pt x="34" y="52"/>
                  </a:cubicBezTo>
                  <a:cubicBezTo>
                    <a:pt x="6" y="58"/>
                    <a:pt x="0" y="108"/>
                    <a:pt x="41" y="113"/>
                  </a:cubicBezTo>
                  <a:cubicBezTo>
                    <a:pt x="59" y="113"/>
                    <a:pt x="97" y="113"/>
                    <a:pt x="99" y="113"/>
                  </a:cubicBezTo>
                  <a:cubicBezTo>
                    <a:pt x="94" y="108"/>
                    <a:pt x="90" y="99"/>
                    <a:pt x="90" y="9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64">
              <a:extLst>
                <a:ext uri="{FF2B5EF4-FFF2-40B4-BE49-F238E27FC236}">
                  <a16:creationId xmlns:a16="http://schemas.microsoft.com/office/drawing/2014/main" id="{8DE50014-AB49-40AA-9C4D-191EDCC825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7088" y="2314575"/>
              <a:ext cx="193675" cy="195263"/>
            </a:xfrm>
            <a:custGeom>
              <a:avLst/>
              <a:gdLst>
                <a:gd name="T0" fmla="*/ 26 w 52"/>
                <a:gd name="T1" fmla="*/ 0 h 52"/>
                <a:gd name="T2" fmla="*/ 0 w 52"/>
                <a:gd name="T3" fmla="*/ 26 h 52"/>
                <a:gd name="T4" fmla="*/ 26 w 52"/>
                <a:gd name="T5" fmla="*/ 52 h 52"/>
                <a:gd name="T6" fmla="*/ 52 w 52"/>
                <a:gd name="T7" fmla="*/ 26 h 52"/>
                <a:gd name="T8" fmla="*/ 26 w 52"/>
                <a:gd name="T9" fmla="*/ 0 h 52"/>
                <a:gd name="T10" fmla="*/ 43 w 52"/>
                <a:gd name="T11" fmla="*/ 30 h 52"/>
                <a:gd name="T12" fmla="*/ 32 w 52"/>
                <a:gd name="T13" fmla="*/ 30 h 52"/>
                <a:gd name="T14" fmla="*/ 32 w 52"/>
                <a:gd name="T15" fmla="*/ 42 h 52"/>
                <a:gd name="T16" fmla="*/ 22 w 52"/>
                <a:gd name="T17" fmla="*/ 42 h 52"/>
                <a:gd name="T18" fmla="*/ 22 w 52"/>
                <a:gd name="T19" fmla="*/ 30 h 52"/>
                <a:gd name="T20" fmla="*/ 11 w 52"/>
                <a:gd name="T21" fmla="*/ 30 h 52"/>
                <a:gd name="T22" fmla="*/ 11 w 52"/>
                <a:gd name="T23" fmla="*/ 22 h 52"/>
                <a:gd name="T24" fmla="*/ 22 w 52"/>
                <a:gd name="T25" fmla="*/ 22 h 52"/>
                <a:gd name="T26" fmla="*/ 22 w 52"/>
                <a:gd name="T27" fmla="*/ 10 h 52"/>
                <a:gd name="T28" fmla="*/ 32 w 52"/>
                <a:gd name="T29" fmla="*/ 10 h 52"/>
                <a:gd name="T30" fmla="*/ 32 w 52"/>
                <a:gd name="T31" fmla="*/ 22 h 52"/>
                <a:gd name="T32" fmla="*/ 43 w 52"/>
                <a:gd name="T33" fmla="*/ 22 h 52"/>
                <a:gd name="T34" fmla="*/ 43 w 52"/>
                <a:gd name="T35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cubicBezTo>
                    <a:pt x="12" y="0"/>
                    <a:pt x="0" y="12"/>
                    <a:pt x="0" y="26"/>
                  </a:cubicBezTo>
                  <a:cubicBezTo>
                    <a:pt x="0" y="40"/>
                    <a:pt x="12" y="52"/>
                    <a:pt x="26" y="52"/>
                  </a:cubicBezTo>
                  <a:cubicBezTo>
                    <a:pt x="40" y="52"/>
                    <a:pt x="52" y="40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lose/>
                  <a:moveTo>
                    <a:pt x="43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43" y="22"/>
                    <a:pt x="43" y="22"/>
                    <a:pt x="43" y="22"/>
                  </a:cubicBezTo>
                  <a:lnTo>
                    <a:pt x="43" y="30"/>
                  </a:ln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Freeform 65">
              <a:extLst>
                <a:ext uri="{FF2B5EF4-FFF2-40B4-BE49-F238E27FC236}">
                  <a16:creationId xmlns:a16="http://schemas.microsoft.com/office/drawing/2014/main" id="{6C7591DB-0726-4860-B51B-CE1AF5DAE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8787" y="2085975"/>
              <a:ext cx="495300" cy="423863"/>
            </a:xfrm>
            <a:custGeom>
              <a:avLst/>
              <a:gdLst>
                <a:gd name="T0" fmla="*/ 90 w 132"/>
                <a:gd name="T1" fmla="*/ 99 h 113"/>
                <a:gd name="T2" fmla="*/ 46 w 132"/>
                <a:gd name="T3" fmla="*/ 99 h 113"/>
                <a:gd name="T4" fmla="*/ 46 w 132"/>
                <a:gd name="T5" fmla="*/ 63 h 113"/>
                <a:gd name="T6" fmla="*/ 68 w 132"/>
                <a:gd name="T7" fmla="*/ 52 h 113"/>
                <a:gd name="T8" fmla="*/ 118 w 132"/>
                <a:gd name="T9" fmla="*/ 50 h 113"/>
                <a:gd name="T10" fmla="*/ 123 w 132"/>
                <a:gd name="T11" fmla="*/ 50 h 113"/>
                <a:gd name="T12" fmla="*/ 132 w 132"/>
                <a:gd name="T13" fmla="*/ 51 h 113"/>
                <a:gd name="T14" fmla="*/ 132 w 132"/>
                <a:gd name="T15" fmla="*/ 51 h 113"/>
                <a:gd name="T16" fmla="*/ 63 w 132"/>
                <a:gd name="T17" fmla="*/ 35 h 113"/>
                <a:gd name="T18" fmla="*/ 34 w 132"/>
                <a:gd name="T19" fmla="*/ 52 h 113"/>
                <a:gd name="T20" fmla="*/ 41 w 132"/>
                <a:gd name="T21" fmla="*/ 113 h 113"/>
                <a:gd name="T22" fmla="*/ 99 w 132"/>
                <a:gd name="T23" fmla="*/ 113 h 113"/>
                <a:gd name="T24" fmla="*/ 90 w 132"/>
                <a:gd name="T2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13">
                  <a:moveTo>
                    <a:pt x="90" y="99"/>
                  </a:moveTo>
                  <a:cubicBezTo>
                    <a:pt x="90" y="99"/>
                    <a:pt x="74" y="99"/>
                    <a:pt x="46" y="99"/>
                  </a:cubicBezTo>
                  <a:cubicBezTo>
                    <a:pt x="17" y="99"/>
                    <a:pt x="20" y="61"/>
                    <a:pt x="46" y="63"/>
                  </a:cubicBezTo>
                  <a:cubicBezTo>
                    <a:pt x="43" y="57"/>
                    <a:pt x="54" y="39"/>
                    <a:pt x="68" y="52"/>
                  </a:cubicBezTo>
                  <a:cubicBezTo>
                    <a:pt x="84" y="20"/>
                    <a:pt x="115" y="38"/>
                    <a:pt x="118" y="50"/>
                  </a:cubicBezTo>
                  <a:cubicBezTo>
                    <a:pt x="119" y="50"/>
                    <a:pt x="121" y="50"/>
                    <a:pt x="123" y="50"/>
                  </a:cubicBezTo>
                  <a:cubicBezTo>
                    <a:pt x="126" y="50"/>
                    <a:pt x="129" y="50"/>
                    <a:pt x="132" y="51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32" y="37"/>
                    <a:pt x="99" y="0"/>
                    <a:pt x="63" y="35"/>
                  </a:cubicBezTo>
                  <a:cubicBezTo>
                    <a:pt x="38" y="32"/>
                    <a:pt x="36" y="50"/>
                    <a:pt x="34" y="52"/>
                  </a:cubicBezTo>
                  <a:cubicBezTo>
                    <a:pt x="6" y="58"/>
                    <a:pt x="0" y="108"/>
                    <a:pt x="41" y="113"/>
                  </a:cubicBezTo>
                  <a:cubicBezTo>
                    <a:pt x="59" y="113"/>
                    <a:pt x="97" y="113"/>
                    <a:pt x="99" y="113"/>
                  </a:cubicBezTo>
                  <a:cubicBezTo>
                    <a:pt x="94" y="108"/>
                    <a:pt x="90" y="99"/>
                    <a:pt x="90" y="99"/>
                  </a:cubicBezTo>
                  <a:close/>
                </a:path>
              </a:pathLst>
            </a:custGeom>
            <a:solidFill>
              <a:srgbClr val="D405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9" name="Group 12500">
            <a:extLst>
              <a:ext uri="{FF2B5EF4-FFF2-40B4-BE49-F238E27FC236}">
                <a16:creationId xmlns:a16="http://schemas.microsoft.com/office/drawing/2014/main" id="{2C33FF4B-073A-407E-8716-A3B6B3F55D3A}"/>
              </a:ext>
            </a:extLst>
          </p:cNvPr>
          <p:cNvGrpSpPr/>
          <p:nvPr userDrawn="1"/>
        </p:nvGrpSpPr>
        <p:grpSpPr>
          <a:xfrm>
            <a:off x="5264972" y="2015429"/>
            <a:ext cx="471471" cy="355601"/>
            <a:chOff x="5353050" y="2085975"/>
            <a:chExt cx="561976" cy="423863"/>
          </a:xfrm>
        </p:grpSpPr>
        <p:sp>
          <p:nvSpPr>
            <p:cNvPr id="80" name="Freeform 66">
              <a:extLst>
                <a:ext uri="{FF2B5EF4-FFF2-40B4-BE49-F238E27FC236}">
                  <a16:creationId xmlns:a16="http://schemas.microsoft.com/office/drawing/2014/main" id="{CB7C4B21-E817-439B-8DDF-9B65778A0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3050" y="2085975"/>
              <a:ext cx="495300" cy="423863"/>
            </a:xfrm>
            <a:custGeom>
              <a:avLst/>
              <a:gdLst>
                <a:gd name="T0" fmla="*/ 90 w 132"/>
                <a:gd name="T1" fmla="*/ 99 h 113"/>
                <a:gd name="T2" fmla="*/ 45 w 132"/>
                <a:gd name="T3" fmla="*/ 99 h 113"/>
                <a:gd name="T4" fmla="*/ 46 w 132"/>
                <a:gd name="T5" fmla="*/ 63 h 113"/>
                <a:gd name="T6" fmla="*/ 68 w 132"/>
                <a:gd name="T7" fmla="*/ 52 h 113"/>
                <a:gd name="T8" fmla="*/ 118 w 132"/>
                <a:gd name="T9" fmla="*/ 50 h 113"/>
                <a:gd name="T10" fmla="*/ 122 w 132"/>
                <a:gd name="T11" fmla="*/ 50 h 113"/>
                <a:gd name="T12" fmla="*/ 132 w 132"/>
                <a:gd name="T13" fmla="*/ 51 h 113"/>
                <a:gd name="T14" fmla="*/ 132 w 132"/>
                <a:gd name="T15" fmla="*/ 51 h 113"/>
                <a:gd name="T16" fmla="*/ 63 w 132"/>
                <a:gd name="T17" fmla="*/ 35 h 113"/>
                <a:gd name="T18" fmla="*/ 34 w 132"/>
                <a:gd name="T19" fmla="*/ 52 h 113"/>
                <a:gd name="T20" fmla="*/ 41 w 132"/>
                <a:gd name="T21" fmla="*/ 113 h 113"/>
                <a:gd name="T22" fmla="*/ 99 w 132"/>
                <a:gd name="T23" fmla="*/ 113 h 113"/>
                <a:gd name="T24" fmla="*/ 90 w 132"/>
                <a:gd name="T2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2" h="113">
                  <a:moveTo>
                    <a:pt x="90" y="99"/>
                  </a:moveTo>
                  <a:cubicBezTo>
                    <a:pt x="90" y="99"/>
                    <a:pt x="74" y="99"/>
                    <a:pt x="45" y="99"/>
                  </a:cubicBezTo>
                  <a:cubicBezTo>
                    <a:pt x="17" y="99"/>
                    <a:pt x="20" y="61"/>
                    <a:pt x="46" y="63"/>
                  </a:cubicBezTo>
                  <a:cubicBezTo>
                    <a:pt x="43" y="57"/>
                    <a:pt x="54" y="39"/>
                    <a:pt x="68" y="52"/>
                  </a:cubicBezTo>
                  <a:cubicBezTo>
                    <a:pt x="84" y="20"/>
                    <a:pt x="115" y="38"/>
                    <a:pt x="118" y="50"/>
                  </a:cubicBezTo>
                  <a:cubicBezTo>
                    <a:pt x="119" y="50"/>
                    <a:pt x="121" y="50"/>
                    <a:pt x="122" y="50"/>
                  </a:cubicBezTo>
                  <a:cubicBezTo>
                    <a:pt x="126" y="50"/>
                    <a:pt x="129" y="50"/>
                    <a:pt x="132" y="51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32" y="37"/>
                    <a:pt x="99" y="0"/>
                    <a:pt x="63" y="35"/>
                  </a:cubicBezTo>
                  <a:cubicBezTo>
                    <a:pt x="38" y="32"/>
                    <a:pt x="35" y="50"/>
                    <a:pt x="34" y="52"/>
                  </a:cubicBezTo>
                  <a:cubicBezTo>
                    <a:pt x="6" y="58"/>
                    <a:pt x="0" y="108"/>
                    <a:pt x="41" y="113"/>
                  </a:cubicBezTo>
                  <a:cubicBezTo>
                    <a:pt x="59" y="113"/>
                    <a:pt x="97" y="113"/>
                    <a:pt x="99" y="113"/>
                  </a:cubicBezTo>
                  <a:cubicBezTo>
                    <a:pt x="93" y="108"/>
                    <a:pt x="90" y="99"/>
                    <a:pt x="90" y="9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Freeform 67">
              <a:extLst>
                <a:ext uri="{FF2B5EF4-FFF2-40B4-BE49-F238E27FC236}">
                  <a16:creationId xmlns:a16="http://schemas.microsoft.com/office/drawing/2014/main" id="{C3EE59F2-A8FD-4285-862D-73E46E83D9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9763" y="2314575"/>
              <a:ext cx="195263" cy="195263"/>
            </a:xfrm>
            <a:custGeom>
              <a:avLst/>
              <a:gdLst>
                <a:gd name="T0" fmla="*/ 26 w 52"/>
                <a:gd name="T1" fmla="*/ 0 h 52"/>
                <a:gd name="T2" fmla="*/ 0 w 52"/>
                <a:gd name="T3" fmla="*/ 26 h 52"/>
                <a:gd name="T4" fmla="*/ 26 w 52"/>
                <a:gd name="T5" fmla="*/ 52 h 52"/>
                <a:gd name="T6" fmla="*/ 52 w 52"/>
                <a:gd name="T7" fmla="*/ 26 h 52"/>
                <a:gd name="T8" fmla="*/ 26 w 52"/>
                <a:gd name="T9" fmla="*/ 0 h 52"/>
                <a:gd name="T10" fmla="*/ 43 w 52"/>
                <a:gd name="T11" fmla="*/ 30 h 52"/>
                <a:gd name="T12" fmla="*/ 11 w 52"/>
                <a:gd name="T13" fmla="*/ 30 h 52"/>
                <a:gd name="T14" fmla="*/ 11 w 52"/>
                <a:gd name="T15" fmla="*/ 22 h 52"/>
                <a:gd name="T16" fmla="*/ 43 w 52"/>
                <a:gd name="T17" fmla="*/ 22 h 52"/>
                <a:gd name="T18" fmla="*/ 43 w 52"/>
                <a:gd name="T19" fmla="*/ 3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cubicBezTo>
                    <a:pt x="12" y="0"/>
                    <a:pt x="0" y="12"/>
                    <a:pt x="0" y="26"/>
                  </a:cubicBezTo>
                  <a:cubicBezTo>
                    <a:pt x="0" y="40"/>
                    <a:pt x="12" y="52"/>
                    <a:pt x="26" y="52"/>
                  </a:cubicBezTo>
                  <a:cubicBezTo>
                    <a:pt x="40" y="52"/>
                    <a:pt x="52" y="40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lose/>
                  <a:moveTo>
                    <a:pt x="43" y="30"/>
                  </a:moveTo>
                  <a:cubicBezTo>
                    <a:pt x="11" y="30"/>
                    <a:pt x="11" y="30"/>
                    <a:pt x="11" y="30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43" y="22"/>
                    <a:pt x="43" y="22"/>
                    <a:pt x="43" y="22"/>
                  </a:cubicBezTo>
                  <a:lnTo>
                    <a:pt x="43" y="3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2" name="Group 12493">
            <a:extLst>
              <a:ext uri="{FF2B5EF4-FFF2-40B4-BE49-F238E27FC236}">
                <a16:creationId xmlns:a16="http://schemas.microsoft.com/office/drawing/2014/main" id="{6A9E1DFB-6C70-4878-8A1C-6A8F8FF0C1F9}"/>
              </a:ext>
            </a:extLst>
          </p:cNvPr>
          <p:cNvGrpSpPr/>
          <p:nvPr userDrawn="1"/>
        </p:nvGrpSpPr>
        <p:grpSpPr>
          <a:xfrm>
            <a:off x="6197425" y="2002515"/>
            <a:ext cx="439506" cy="387564"/>
            <a:chOff x="6470650" y="2078038"/>
            <a:chExt cx="523875" cy="461962"/>
          </a:xfrm>
        </p:grpSpPr>
        <p:sp>
          <p:nvSpPr>
            <p:cNvPr id="83" name="Freeform 68">
              <a:extLst>
                <a:ext uri="{FF2B5EF4-FFF2-40B4-BE49-F238E27FC236}">
                  <a16:creationId xmlns:a16="http://schemas.microsoft.com/office/drawing/2014/main" id="{AFDB5270-5FBD-478D-8225-E54522CB4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0650" y="2187575"/>
              <a:ext cx="523875" cy="352425"/>
            </a:xfrm>
            <a:custGeom>
              <a:avLst/>
              <a:gdLst>
                <a:gd name="T0" fmla="*/ 80 w 140"/>
                <a:gd name="T1" fmla="*/ 94 h 94"/>
                <a:gd name="T2" fmla="*/ 52 w 140"/>
                <a:gd name="T3" fmla="*/ 93 h 94"/>
                <a:gd name="T4" fmla="*/ 36 w 140"/>
                <a:gd name="T5" fmla="*/ 93 h 94"/>
                <a:gd name="T6" fmla="*/ 2 w 140"/>
                <a:gd name="T7" fmla="*/ 65 h 94"/>
                <a:gd name="T8" fmla="*/ 22 w 140"/>
                <a:gd name="T9" fmla="*/ 35 h 94"/>
                <a:gd name="T10" fmla="*/ 46 w 140"/>
                <a:gd name="T11" fmla="*/ 1 h 94"/>
                <a:gd name="T12" fmla="*/ 52 w 140"/>
                <a:gd name="T13" fmla="*/ 3 h 94"/>
                <a:gd name="T14" fmla="*/ 49 w 140"/>
                <a:gd name="T15" fmla="*/ 9 h 94"/>
                <a:gd name="T16" fmla="*/ 49 w 140"/>
                <a:gd name="T17" fmla="*/ 9 h 94"/>
                <a:gd name="T18" fmla="*/ 31 w 140"/>
                <a:gd name="T19" fmla="*/ 38 h 94"/>
                <a:gd name="T20" fmla="*/ 32 w 140"/>
                <a:gd name="T21" fmla="*/ 42 h 94"/>
                <a:gd name="T22" fmla="*/ 28 w 140"/>
                <a:gd name="T23" fmla="*/ 43 h 94"/>
                <a:gd name="T24" fmla="*/ 10 w 140"/>
                <a:gd name="T25" fmla="*/ 64 h 94"/>
                <a:gd name="T26" fmla="*/ 36 w 140"/>
                <a:gd name="T27" fmla="*/ 84 h 94"/>
                <a:gd name="T28" fmla="*/ 52 w 140"/>
                <a:gd name="T29" fmla="*/ 84 h 94"/>
                <a:gd name="T30" fmla="*/ 107 w 140"/>
                <a:gd name="T31" fmla="*/ 84 h 94"/>
                <a:gd name="T32" fmla="*/ 131 w 140"/>
                <a:gd name="T33" fmla="*/ 63 h 94"/>
                <a:gd name="T34" fmla="*/ 112 w 140"/>
                <a:gd name="T35" fmla="*/ 43 h 94"/>
                <a:gd name="T36" fmla="*/ 109 w 140"/>
                <a:gd name="T37" fmla="*/ 42 h 94"/>
                <a:gd name="T38" fmla="*/ 109 w 140"/>
                <a:gd name="T39" fmla="*/ 38 h 94"/>
                <a:gd name="T40" fmla="*/ 92 w 140"/>
                <a:gd name="T41" fmla="*/ 21 h 94"/>
                <a:gd name="T42" fmla="*/ 88 w 140"/>
                <a:gd name="T43" fmla="*/ 16 h 94"/>
                <a:gd name="T44" fmla="*/ 94 w 140"/>
                <a:gd name="T45" fmla="*/ 12 h 94"/>
                <a:gd name="T46" fmla="*/ 117 w 140"/>
                <a:gd name="T47" fmla="*/ 35 h 94"/>
                <a:gd name="T48" fmla="*/ 140 w 140"/>
                <a:gd name="T49" fmla="*/ 64 h 94"/>
                <a:gd name="T50" fmla="*/ 108 w 140"/>
                <a:gd name="T51" fmla="*/ 93 h 94"/>
                <a:gd name="T52" fmla="*/ 80 w 140"/>
                <a:gd name="T53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0" h="94">
                  <a:moveTo>
                    <a:pt x="80" y="94"/>
                  </a:moveTo>
                  <a:cubicBezTo>
                    <a:pt x="70" y="94"/>
                    <a:pt x="60" y="93"/>
                    <a:pt x="52" y="93"/>
                  </a:cubicBezTo>
                  <a:cubicBezTo>
                    <a:pt x="46" y="93"/>
                    <a:pt x="40" y="93"/>
                    <a:pt x="36" y="93"/>
                  </a:cubicBezTo>
                  <a:cubicBezTo>
                    <a:pt x="16" y="93"/>
                    <a:pt x="3" y="79"/>
                    <a:pt x="2" y="65"/>
                  </a:cubicBezTo>
                  <a:cubicBezTo>
                    <a:pt x="0" y="55"/>
                    <a:pt x="5" y="42"/>
                    <a:pt x="22" y="35"/>
                  </a:cubicBezTo>
                  <a:cubicBezTo>
                    <a:pt x="22" y="15"/>
                    <a:pt x="37" y="4"/>
                    <a:pt x="46" y="1"/>
                  </a:cubicBezTo>
                  <a:cubicBezTo>
                    <a:pt x="48" y="0"/>
                    <a:pt x="51" y="1"/>
                    <a:pt x="52" y="3"/>
                  </a:cubicBezTo>
                  <a:cubicBezTo>
                    <a:pt x="53" y="6"/>
                    <a:pt x="52" y="8"/>
                    <a:pt x="49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9"/>
                    <a:pt x="29" y="17"/>
                    <a:pt x="31" y="38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16" y="46"/>
                    <a:pt x="9" y="54"/>
                    <a:pt x="10" y="64"/>
                  </a:cubicBezTo>
                  <a:cubicBezTo>
                    <a:pt x="12" y="74"/>
                    <a:pt x="22" y="84"/>
                    <a:pt x="36" y="84"/>
                  </a:cubicBezTo>
                  <a:cubicBezTo>
                    <a:pt x="40" y="84"/>
                    <a:pt x="46" y="84"/>
                    <a:pt x="52" y="84"/>
                  </a:cubicBezTo>
                  <a:cubicBezTo>
                    <a:pt x="68" y="85"/>
                    <a:pt x="88" y="85"/>
                    <a:pt x="107" y="84"/>
                  </a:cubicBezTo>
                  <a:cubicBezTo>
                    <a:pt x="123" y="84"/>
                    <a:pt x="130" y="73"/>
                    <a:pt x="131" y="63"/>
                  </a:cubicBezTo>
                  <a:cubicBezTo>
                    <a:pt x="131" y="55"/>
                    <a:pt x="127" y="45"/>
                    <a:pt x="112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8" y="24"/>
                    <a:pt x="93" y="21"/>
                    <a:pt x="92" y="21"/>
                  </a:cubicBezTo>
                  <a:cubicBezTo>
                    <a:pt x="90" y="21"/>
                    <a:pt x="88" y="18"/>
                    <a:pt x="88" y="16"/>
                  </a:cubicBezTo>
                  <a:cubicBezTo>
                    <a:pt x="89" y="13"/>
                    <a:pt x="91" y="12"/>
                    <a:pt x="94" y="12"/>
                  </a:cubicBezTo>
                  <a:cubicBezTo>
                    <a:pt x="101" y="13"/>
                    <a:pt x="115" y="19"/>
                    <a:pt x="117" y="35"/>
                  </a:cubicBezTo>
                  <a:cubicBezTo>
                    <a:pt x="134" y="39"/>
                    <a:pt x="140" y="52"/>
                    <a:pt x="140" y="64"/>
                  </a:cubicBezTo>
                  <a:cubicBezTo>
                    <a:pt x="139" y="78"/>
                    <a:pt x="127" y="92"/>
                    <a:pt x="108" y="93"/>
                  </a:cubicBezTo>
                  <a:cubicBezTo>
                    <a:pt x="99" y="94"/>
                    <a:pt x="89" y="94"/>
                    <a:pt x="80" y="94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69">
              <a:extLst>
                <a:ext uri="{FF2B5EF4-FFF2-40B4-BE49-F238E27FC236}">
                  <a16:creationId xmlns:a16="http://schemas.microsoft.com/office/drawing/2014/main" id="{AECEFDD7-7442-44EE-B876-2044271A0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100" y="2078038"/>
              <a:ext cx="184150" cy="363538"/>
            </a:xfrm>
            <a:custGeom>
              <a:avLst/>
              <a:gdLst>
                <a:gd name="T0" fmla="*/ 37 w 49"/>
                <a:gd name="T1" fmla="*/ 74 h 97"/>
                <a:gd name="T2" fmla="*/ 37 w 49"/>
                <a:gd name="T3" fmla="*/ 6 h 97"/>
                <a:gd name="T4" fmla="*/ 32 w 49"/>
                <a:gd name="T5" fmla="*/ 0 h 97"/>
                <a:gd name="T6" fmla="*/ 19 w 49"/>
                <a:gd name="T7" fmla="*/ 0 h 97"/>
                <a:gd name="T8" fmla="*/ 13 w 49"/>
                <a:gd name="T9" fmla="*/ 6 h 97"/>
                <a:gd name="T10" fmla="*/ 13 w 49"/>
                <a:gd name="T11" fmla="*/ 74 h 97"/>
                <a:gd name="T12" fmla="*/ 0 w 49"/>
                <a:gd name="T13" fmla="*/ 74 h 97"/>
                <a:gd name="T14" fmla="*/ 21 w 49"/>
                <a:gd name="T15" fmla="*/ 95 h 97"/>
                <a:gd name="T16" fmla="*/ 28 w 49"/>
                <a:gd name="T17" fmla="*/ 95 h 97"/>
                <a:gd name="T18" fmla="*/ 49 w 49"/>
                <a:gd name="T19" fmla="*/ 74 h 97"/>
                <a:gd name="T20" fmla="*/ 37 w 49"/>
                <a:gd name="T21" fmla="*/ 7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97">
                  <a:moveTo>
                    <a:pt x="37" y="74"/>
                  </a:moveTo>
                  <a:cubicBezTo>
                    <a:pt x="37" y="6"/>
                    <a:pt x="37" y="6"/>
                    <a:pt x="37" y="6"/>
                  </a:cubicBezTo>
                  <a:cubicBezTo>
                    <a:pt x="37" y="3"/>
                    <a:pt x="35" y="0"/>
                    <a:pt x="32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0"/>
                    <a:pt x="13" y="3"/>
                    <a:pt x="13" y="6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4"/>
                    <a:pt x="19" y="93"/>
                    <a:pt x="21" y="95"/>
                  </a:cubicBezTo>
                  <a:cubicBezTo>
                    <a:pt x="24" y="97"/>
                    <a:pt x="25" y="97"/>
                    <a:pt x="28" y="95"/>
                  </a:cubicBezTo>
                  <a:cubicBezTo>
                    <a:pt x="31" y="92"/>
                    <a:pt x="49" y="74"/>
                    <a:pt x="49" y="74"/>
                  </a:cubicBezTo>
                  <a:lnTo>
                    <a:pt x="37" y="74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5" name="Group 12494">
            <a:extLst>
              <a:ext uri="{FF2B5EF4-FFF2-40B4-BE49-F238E27FC236}">
                <a16:creationId xmlns:a16="http://schemas.microsoft.com/office/drawing/2014/main" id="{94BE695C-3D73-4CF7-97FA-339A4C3B301A}"/>
              </a:ext>
            </a:extLst>
          </p:cNvPr>
          <p:cNvGrpSpPr/>
          <p:nvPr userDrawn="1"/>
        </p:nvGrpSpPr>
        <p:grpSpPr>
          <a:xfrm>
            <a:off x="7115347" y="2002515"/>
            <a:ext cx="443502" cy="387564"/>
            <a:chOff x="7569200" y="2078038"/>
            <a:chExt cx="528638" cy="461962"/>
          </a:xfrm>
        </p:grpSpPr>
        <p:sp>
          <p:nvSpPr>
            <p:cNvPr id="86" name="Freeform 70">
              <a:extLst>
                <a:ext uri="{FF2B5EF4-FFF2-40B4-BE49-F238E27FC236}">
                  <a16:creationId xmlns:a16="http://schemas.microsoft.com/office/drawing/2014/main" id="{3352A032-8186-4824-B858-D08793911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9200" y="2187575"/>
              <a:ext cx="528638" cy="352425"/>
            </a:xfrm>
            <a:custGeom>
              <a:avLst/>
              <a:gdLst>
                <a:gd name="T0" fmla="*/ 80 w 141"/>
                <a:gd name="T1" fmla="*/ 94 h 94"/>
                <a:gd name="T2" fmla="*/ 52 w 141"/>
                <a:gd name="T3" fmla="*/ 93 h 94"/>
                <a:gd name="T4" fmla="*/ 36 w 141"/>
                <a:gd name="T5" fmla="*/ 93 h 94"/>
                <a:gd name="T6" fmla="*/ 2 w 141"/>
                <a:gd name="T7" fmla="*/ 65 h 94"/>
                <a:gd name="T8" fmla="*/ 23 w 141"/>
                <a:gd name="T9" fmla="*/ 35 h 94"/>
                <a:gd name="T10" fmla="*/ 46 w 141"/>
                <a:gd name="T11" fmla="*/ 1 h 94"/>
                <a:gd name="T12" fmla="*/ 52 w 141"/>
                <a:gd name="T13" fmla="*/ 3 h 94"/>
                <a:gd name="T14" fmla="*/ 50 w 141"/>
                <a:gd name="T15" fmla="*/ 9 h 94"/>
                <a:gd name="T16" fmla="*/ 50 w 141"/>
                <a:gd name="T17" fmla="*/ 9 h 94"/>
                <a:gd name="T18" fmla="*/ 32 w 141"/>
                <a:gd name="T19" fmla="*/ 38 h 94"/>
                <a:gd name="T20" fmla="*/ 32 w 141"/>
                <a:gd name="T21" fmla="*/ 42 h 94"/>
                <a:gd name="T22" fmla="*/ 28 w 141"/>
                <a:gd name="T23" fmla="*/ 43 h 94"/>
                <a:gd name="T24" fmla="*/ 11 w 141"/>
                <a:gd name="T25" fmla="*/ 64 h 94"/>
                <a:gd name="T26" fmla="*/ 36 w 141"/>
                <a:gd name="T27" fmla="*/ 84 h 94"/>
                <a:gd name="T28" fmla="*/ 52 w 141"/>
                <a:gd name="T29" fmla="*/ 84 h 94"/>
                <a:gd name="T30" fmla="*/ 108 w 141"/>
                <a:gd name="T31" fmla="*/ 84 h 94"/>
                <a:gd name="T32" fmla="*/ 131 w 141"/>
                <a:gd name="T33" fmla="*/ 63 h 94"/>
                <a:gd name="T34" fmla="*/ 113 w 141"/>
                <a:gd name="T35" fmla="*/ 43 h 94"/>
                <a:gd name="T36" fmla="*/ 109 w 141"/>
                <a:gd name="T37" fmla="*/ 42 h 94"/>
                <a:gd name="T38" fmla="*/ 109 w 141"/>
                <a:gd name="T39" fmla="*/ 38 h 94"/>
                <a:gd name="T40" fmla="*/ 93 w 141"/>
                <a:gd name="T41" fmla="*/ 21 h 94"/>
                <a:gd name="T42" fmla="*/ 89 w 141"/>
                <a:gd name="T43" fmla="*/ 16 h 94"/>
                <a:gd name="T44" fmla="*/ 94 w 141"/>
                <a:gd name="T45" fmla="*/ 12 h 94"/>
                <a:gd name="T46" fmla="*/ 118 w 141"/>
                <a:gd name="T47" fmla="*/ 35 h 94"/>
                <a:gd name="T48" fmla="*/ 140 w 141"/>
                <a:gd name="T49" fmla="*/ 64 h 94"/>
                <a:gd name="T50" fmla="*/ 108 w 141"/>
                <a:gd name="T51" fmla="*/ 93 h 94"/>
                <a:gd name="T52" fmla="*/ 80 w 141"/>
                <a:gd name="T53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1" h="94">
                  <a:moveTo>
                    <a:pt x="80" y="94"/>
                  </a:moveTo>
                  <a:cubicBezTo>
                    <a:pt x="70" y="94"/>
                    <a:pt x="60" y="93"/>
                    <a:pt x="52" y="93"/>
                  </a:cubicBezTo>
                  <a:cubicBezTo>
                    <a:pt x="46" y="93"/>
                    <a:pt x="40" y="93"/>
                    <a:pt x="36" y="93"/>
                  </a:cubicBezTo>
                  <a:cubicBezTo>
                    <a:pt x="16" y="93"/>
                    <a:pt x="4" y="79"/>
                    <a:pt x="2" y="65"/>
                  </a:cubicBezTo>
                  <a:cubicBezTo>
                    <a:pt x="0" y="55"/>
                    <a:pt x="5" y="42"/>
                    <a:pt x="23" y="35"/>
                  </a:cubicBezTo>
                  <a:cubicBezTo>
                    <a:pt x="22" y="15"/>
                    <a:pt x="38" y="4"/>
                    <a:pt x="46" y="1"/>
                  </a:cubicBezTo>
                  <a:cubicBezTo>
                    <a:pt x="49" y="0"/>
                    <a:pt x="51" y="1"/>
                    <a:pt x="52" y="3"/>
                  </a:cubicBezTo>
                  <a:cubicBezTo>
                    <a:pt x="53" y="6"/>
                    <a:pt x="52" y="8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9" y="9"/>
                    <a:pt x="29" y="17"/>
                    <a:pt x="32" y="38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16" y="46"/>
                    <a:pt x="9" y="54"/>
                    <a:pt x="11" y="64"/>
                  </a:cubicBezTo>
                  <a:cubicBezTo>
                    <a:pt x="12" y="74"/>
                    <a:pt x="22" y="84"/>
                    <a:pt x="36" y="84"/>
                  </a:cubicBezTo>
                  <a:cubicBezTo>
                    <a:pt x="40" y="84"/>
                    <a:pt x="46" y="84"/>
                    <a:pt x="52" y="84"/>
                  </a:cubicBezTo>
                  <a:cubicBezTo>
                    <a:pt x="68" y="85"/>
                    <a:pt x="88" y="85"/>
                    <a:pt x="108" y="84"/>
                  </a:cubicBezTo>
                  <a:cubicBezTo>
                    <a:pt x="123" y="84"/>
                    <a:pt x="130" y="73"/>
                    <a:pt x="131" y="63"/>
                  </a:cubicBezTo>
                  <a:cubicBezTo>
                    <a:pt x="132" y="55"/>
                    <a:pt x="127" y="45"/>
                    <a:pt x="113" y="43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24"/>
                    <a:pt x="93" y="21"/>
                    <a:pt x="93" y="21"/>
                  </a:cubicBezTo>
                  <a:cubicBezTo>
                    <a:pt x="90" y="21"/>
                    <a:pt x="88" y="18"/>
                    <a:pt x="89" y="16"/>
                  </a:cubicBezTo>
                  <a:cubicBezTo>
                    <a:pt x="89" y="13"/>
                    <a:pt x="91" y="12"/>
                    <a:pt x="94" y="12"/>
                  </a:cubicBezTo>
                  <a:cubicBezTo>
                    <a:pt x="101" y="13"/>
                    <a:pt x="115" y="19"/>
                    <a:pt x="118" y="35"/>
                  </a:cubicBezTo>
                  <a:cubicBezTo>
                    <a:pt x="134" y="39"/>
                    <a:pt x="141" y="52"/>
                    <a:pt x="140" y="64"/>
                  </a:cubicBezTo>
                  <a:cubicBezTo>
                    <a:pt x="139" y="78"/>
                    <a:pt x="128" y="92"/>
                    <a:pt x="108" y="93"/>
                  </a:cubicBezTo>
                  <a:cubicBezTo>
                    <a:pt x="99" y="94"/>
                    <a:pt x="89" y="94"/>
                    <a:pt x="80" y="94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 71">
              <a:extLst>
                <a:ext uri="{FF2B5EF4-FFF2-40B4-BE49-F238E27FC236}">
                  <a16:creationId xmlns:a16="http://schemas.microsoft.com/office/drawing/2014/main" id="{E193E0F6-2FED-4A53-A100-B3B82345E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2238" y="2078038"/>
              <a:ext cx="187325" cy="360363"/>
            </a:xfrm>
            <a:custGeom>
              <a:avLst/>
              <a:gdLst>
                <a:gd name="T0" fmla="*/ 38 w 50"/>
                <a:gd name="T1" fmla="*/ 23 h 96"/>
                <a:gd name="T2" fmla="*/ 38 w 50"/>
                <a:gd name="T3" fmla="*/ 91 h 96"/>
                <a:gd name="T4" fmla="*/ 32 w 50"/>
                <a:gd name="T5" fmla="*/ 96 h 96"/>
                <a:gd name="T6" fmla="*/ 19 w 50"/>
                <a:gd name="T7" fmla="*/ 96 h 96"/>
                <a:gd name="T8" fmla="*/ 13 w 50"/>
                <a:gd name="T9" fmla="*/ 91 h 96"/>
                <a:gd name="T10" fmla="*/ 13 w 50"/>
                <a:gd name="T11" fmla="*/ 23 h 96"/>
                <a:gd name="T12" fmla="*/ 0 w 50"/>
                <a:gd name="T13" fmla="*/ 23 h 96"/>
                <a:gd name="T14" fmla="*/ 21 w 50"/>
                <a:gd name="T15" fmla="*/ 2 h 96"/>
                <a:gd name="T16" fmla="*/ 29 w 50"/>
                <a:gd name="T17" fmla="*/ 2 h 96"/>
                <a:gd name="T18" fmla="*/ 50 w 50"/>
                <a:gd name="T19" fmla="*/ 23 h 96"/>
                <a:gd name="T20" fmla="*/ 38 w 50"/>
                <a:gd name="T21" fmla="*/ 2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96">
                  <a:moveTo>
                    <a:pt x="38" y="23"/>
                  </a:moveTo>
                  <a:cubicBezTo>
                    <a:pt x="38" y="91"/>
                    <a:pt x="38" y="91"/>
                    <a:pt x="38" y="91"/>
                  </a:cubicBezTo>
                  <a:cubicBezTo>
                    <a:pt x="38" y="94"/>
                    <a:pt x="35" y="96"/>
                    <a:pt x="32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6" y="96"/>
                    <a:pt x="13" y="94"/>
                    <a:pt x="13" y="91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3"/>
                    <a:pt x="19" y="4"/>
                    <a:pt x="21" y="2"/>
                  </a:cubicBezTo>
                  <a:cubicBezTo>
                    <a:pt x="24" y="0"/>
                    <a:pt x="26" y="0"/>
                    <a:pt x="29" y="2"/>
                  </a:cubicBezTo>
                  <a:cubicBezTo>
                    <a:pt x="31" y="5"/>
                    <a:pt x="50" y="23"/>
                    <a:pt x="50" y="23"/>
                  </a:cubicBezTo>
                  <a:lnTo>
                    <a:pt x="38" y="23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88" name="Group 12489">
            <a:extLst>
              <a:ext uri="{FF2B5EF4-FFF2-40B4-BE49-F238E27FC236}">
                <a16:creationId xmlns:a16="http://schemas.microsoft.com/office/drawing/2014/main" id="{C822E70E-25F8-48C3-93E2-821AB1124D0A}"/>
              </a:ext>
            </a:extLst>
          </p:cNvPr>
          <p:cNvGrpSpPr/>
          <p:nvPr userDrawn="1"/>
        </p:nvGrpSpPr>
        <p:grpSpPr>
          <a:xfrm>
            <a:off x="8030581" y="1975071"/>
            <a:ext cx="454157" cy="455489"/>
            <a:chOff x="8629650" y="2105025"/>
            <a:chExt cx="541338" cy="542926"/>
          </a:xfrm>
        </p:grpSpPr>
        <p:sp>
          <p:nvSpPr>
            <p:cNvPr id="89" name="Freeform 72">
              <a:extLst>
                <a:ext uri="{FF2B5EF4-FFF2-40B4-BE49-F238E27FC236}">
                  <a16:creationId xmlns:a16="http://schemas.microsoft.com/office/drawing/2014/main" id="{1AFD5D92-F78B-4EB3-9D97-D7036537ED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9650" y="2105025"/>
              <a:ext cx="236538" cy="168275"/>
            </a:xfrm>
            <a:custGeom>
              <a:avLst/>
              <a:gdLst>
                <a:gd name="T0" fmla="*/ 55 w 63"/>
                <a:gd name="T1" fmla="*/ 0 h 45"/>
                <a:gd name="T2" fmla="*/ 7 w 63"/>
                <a:gd name="T3" fmla="*/ 0 h 45"/>
                <a:gd name="T4" fmla="*/ 0 w 63"/>
                <a:gd name="T5" fmla="*/ 8 h 45"/>
                <a:gd name="T6" fmla="*/ 0 w 63"/>
                <a:gd name="T7" fmla="*/ 37 h 45"/>
                <a:gd name="T8" fmla="*/ 7 w 63"/>
                <a:gd name="T9" fmla="*/ 45 h 45"/>
                <a:gd name="T10" fmla="*/ 55 w 63"/>
                <a:gd name="T11" fmla="*/ 45 h 45"/>
                <a:gd name="T12" fmla="*/ 63 w 63"/>
                <a:gd name="T13" fmla="*/ 37 h 45"/>
                <a:gd name="T14" fmla="*/ 63 w 63"/>
                <a:gd name="T15" fmla="*/ 8 h 45"/>
                <a:gd name="T16" fmla="*/ 55 w 63"/>
                <a:gd name="T17" fmla="*/ 0 h 45"/>
                <a:gd name="T18" fmla="*/ 58 w 63"/>
                <a:gd name="T19" fmla="*/ 37 h 45"/>
                <a:gd name="T20" fmla="*/ 55 w 63"/>
                <a:gd name="T21" fmla="*/ 40 h 45"/>
                <a:gd name="T22" fmla="*/ 8 w 63"/>
                <a:gd name="T23" fmla="*/ 40 h 45"/>
                <a:gd name="T24" fmla="*/ 5 w 63"/>
                <a:gd name="T25" fmla="*/ 37 h 45"/>
                <a:gd name="T26" fmla="*/ 5 w 63"/>
                <a:gd name="T27" fmla="*/ 8 h 45"/>
                <a:gd name="T28" fmla="*/ 8 w 63"/>
                <a:gd name="T29" fmla="*/ 5 h 45"/>
                <a:gd name="T30" fmla="*/ 55 w 63"/>
                <a:gd name="T31" fmla="*/ 5 h 45"/>
                <a:gd name="T32" fmla="*/ 58 w 63"/>
                <a:gd name="T33" fmla="*/ 8 h 45"/>
                <a:gd name="T34" fmla="*/ 58 w 63"/>
                <a:gd name="T35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" h="45">
                  <a:moveTo>
                    <a:pt x="5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1"/>
                    <a:pt x="3" y="45"/>
                    <a:pt x="7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9" y="45"/>
                    <a:pt x="63" y="41"/>
                    <a:pt x="63" y="37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3"/>
                    <a:pt x="59" y="0"/>
                    <a:pt x="55" y="0"/>
                  </a:cubicBezTo>
                  <a:close/>
                  <a:moveTo>
                    <a:pt x="58" y="37"/>
                  </a:moveTo>
                  <a:cubicBezTo>
                    <a:pt x="58" y="39"/>
                    <a:pt x="56" y="40"/>
                    <a:pt x="5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7" y="40"/>
                    <a:pt x="5" y="39"/>
                    <a:pt x="5" y="3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7" y="5"/>
                    <a:pt x="8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6" y="5"/>
                    <a:pt x="58" y="7"/>
                    <a:pt x="58" y="8"/>
                  </a:cubicBezTo>
                  <a:lnTo>
                    <a:pt x="58" y="37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 73">
              <a:extLst>
                <a:ext uri="{FF2B5EF4-FFF2-40B4-BE49-F238E27FC236}">
                  <a16:creationId xmlns:a16="http://schemas.microsoft.com/office/drawing/2014/main" id="{927992CD-0454-47AA-A058-0CF54CE7C9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29650" y="2287588"/>
              <a:ext cx="236538" cy="57150"/>
            </a:xfrm>
            <a:custGeom>
              <a:avLst/>
              <a:gdLst>
                <a:gd name="T0" fmla="*/ 57 w 63"/>
                <a:gd name="T1" fmla="*/ 0 h 15"/>
                <a:gd name="T2" fmla="*/ 5 w 63"/>
                <a:gd name="T3" fmla="*/ 0 h 15"/>
                <a:gd name="T4" fmla="*/ 0 w 63"/>
                <a:gd name="T5" fmla="*/ 6 h 15"/>
                <a:gd name="T6" fmla="*/ 0 w 63"/>
                <a:gd name="T7" fmla="*/ 9 h 15"/>
                <a:gd name="T8" fmla="*/ 5 w 63"/>
                <a:gd name="T9" fmla="*/ 15 h 15"/>
                <a:gd name="T10" fmla="*/ 57 w 63"/>
                <a:gd name="T11" fmla="*/ 15 h 15"/>
                <a:gd name="T12" fmla="*/ 63 w 63"/>
                <a:gd name="T13" fmla="*/ 9 h 15"/>
                <a:gd name="T14" fmla="*/ 63 w 63"/>
                <a:gd name="T15" fmla="*/ 6 h 15"/>
                <a:gd name="T16" fmla="*/ 57 w 63"/>
                <a:gd name="T17" fmla="*/ 0 h 15"/>
                <a:gd name="T18" fmla="*/ 56 w 63"/>
                <a:gd name="T19" fmla="*/ 10 h 15"/>
                <a:gd name="T20" fmla="*/ 31 w 63"/>
                <a:gd name="T21" fmla="*/ 10 h 15"/>
                <a:gd name="T22" fmla="*/ 29 w 63"/>
                <a:gd name="T23" fmla="*/ 7 h 15"/>
                <a:gd name="T24" fmla="*/ 31 w 63"/>
                <a:gd name="T25" fmla="*/ 5 h 15"/>
                <a:gd name="T26" fmla="*/ 56 w 63"/>
                <a:gd name="T27" fmla="*/ 5 h 15"/>
                <a:gd name="T28" fmla="*/ 58 w 63"/>
                <a:gd name="T29" fmla="*/ 7 h 15"/>
                <a:gd name="T30" fmla="*/ 56 w 63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3" h="15">
                  <a:moveTo>
                    <a:pt x="5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2" y="15"/>
                    <a:pt x="5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60" y="15"/>
                    <a:pt x="63" y="12"/>
                    <a:pt x="63" y="9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3"/>
                    <a:pt x="60" y="0"/>
                    <a:pt x="57" y="0"/>
                  </a:cubicBezTo>
                  <a:close/>
                  <a:moveTo>
                    <a:pt x="56" y="10"/>
                  </a:moveTo>
                  <a:cubicBezTo>
                    <a:pt x="31" y="10"/>
                    <a:pt x="31" y="10"/>
                    <a:pt x="31" y="10"/>
                  </a:cubicBezTo>
                  <a:cubicBezTo>
                    <a:pt x="30" y="10"/>
                    <a:pt x="29" y="9"/>
                    <a:pt x="29" y="7"/>
                  </a:cubicBezTo>
                  <a:cubicBezTo>
                    <a:pt x="29" y="6"/>
                    <a:pt x="30" y="5"/>
                    <a:pt x="31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7" y="5"/>
                    <a:pt x="58" y="6"/>
                    <a:pt x="58" y="7"/>
                  </a:cubicBezTo>
                  <a:cubicBezTo>
                    <a:pt x="58" y="9"/>
                    <a:pt x="57" y="10"/>
                    <a:pt x="56" y="1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 74">
              <a:extLst>
                <a:ext uri="{FF2B5EF4-FFF2-40B4-BE49-F238E27FC236}">
                  <a16:creationId xmlns:a16="http://schemas.microsoft.com/office/drawing/2014/main" id="{C5901F59-0E6F-4D0D-8E9B-7D08BF1F63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34450" y="2408238"/>
              <a:ext cx="236538" cy="165100"/>
            </a:xfrm>
            <a:custGeom>
              <a:avLst/>
              <a:gdLst>
                <a:gd name="T0" fmla="*/ 56 w 63"/>
                <a:gd name="T1" fmla="*/ 0 h 44"/>
                <a:gd name="T2" fmla="*/ 7 w 63"/>
                <a:gd name="T3" fmla="*/ 0 h 44"/>
                <a:gd name="T4" fmla="*/ 0 w 63"/>
                <a:gd name="T5" fmla="*/ 7 h 44"/>
                <a:gd name="T6" fmla="*/ 0 w 63"/>
                <a:gd name="T7" fmla="*/ 37 h 44"/>
                <a:gd name="T8" fmla="*/ 7 w 63"/>
                <a:gd name="T9" fmla="*/ 44 h 44"/>
                <a:gd name="T10" fmla="*/ 56 w 63"/>
                <a:gd name="T11" fmla="*/ 44 h 44"/>
                <a:gd name="T12" fmla="*/ 63 w 63"/>
                <a:gd name="T13" fmla="*/ 37 h 44"/>
                <a:gd name="T14" fmla="*/ 63 w 63"/>
                <a:gd name="T15" fmla="*/ 7 h 44"/>
                <a:gd name="T16" fmla="*/ 56 w 63"/>
                <a:gd name="T17" fmla="*/ 0 h 44"/>
                <a:gd name="T18" fmla="*/ 58 w 63"/>
                <a:gd name="T19" fmla="*/ 37 h 44"/>
                <a:gd name="T20" fmla="*/ 55 w 63"/>
                <a:gd name="T21" fmla="*/ 40 h 44"/>
                <a:gd name="T22" fmla="*/ 8 w 63"/>
                <a:gd name="T23" fmla="*/ 40 h 44"/>
                <a:gd name="T24" fmla="*/ 5 w 63"/>
                <a:gd name="T25" fmla="*/ 37 h 44"/>
                <a:gd name="T26" fmla="*/ 5 w 63"/>
                <a:gd name="T27" fmla="*/ 8 h 44"/>
                <a:gd name="T28" fmla="*/ 8 w 63"/>
                <a:gd name="T29" fmla="*/ 5 h 44"/>
                <a:gd name="T30" fmla="*/ 55 w 63"/>
                <a:gd name="T31" fmla="*/ 5 h 44"/>
                <a:gd name="T32" fmla="*/ 58 w 63"/>
                <a:gd name="T33" fmla="*/ 8 h 44"/>
                <a:gd name="T34" fmla="*/ 58 w 63"/>
                <a:gd name="T35" fmla="*/ 3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3" h="44">
                  <a:moveTo>
                    <a:pt x="5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41"/>
                    <a:pt x="3" y="44"/>
                    <a:pt x="7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60" y="44"/>
                    <a:pt x="63" y="41"/>
                    <a:pt x="63" y="3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3"/>
                    <a:pt x="60" y="0"/>
                    <a:pt x="56" y="0"/>
                  </a:cubicBezTo>
                  <a:close/>
                  <a:moveTo>
                    <a:pt x="58" y="37"/>
                  </a:moveTo>
                  <a:cubicBezTo>
                    <a:pt x="58" y="38"/>
                    <a:pt x="57" y="40"/>
                    <a:pt x="55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7" y="40"/>
                    <a:pt x="5" y="38"/>
                    <a:pt x="5" y="37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6"/>
                    <a:pt x="7" y="5"/>
                    <a:pt x="8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7" y="5"/>
                    <a:pt x="58" y="6"/>
                    <a:pt x="58" y="8"/>
                  </a:cubicBezTo>
                  <a:lnTo>
                    <a:pt x="58" y="37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 75">
              <a:extLst>
                <a:ext uri="{FF2B5EF4-FFF2-40B4-BE49-F238E27FC236}">
                  <a16:creationId xmlns:a16="http://schemas.microsoft.com/office/drawing/2014/main" id="{31676832-F9AC-4D6D-82DF-700C54B1F1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934450" y="2592388"/>
              <a:ext cx="236538" cy="55563"/>
            </a:xfrm>
            <a:custGeom>
              <a:avLst/>
              <a:gdLst>
                <a:gd name="T0" fmla="*/ 57 w 63"/>
                <a:gd name="T1" fmla="*/ 0 h 15"/>
                <a:gd name="T2" fmla="*/ 5 w 63"/>
                <a:gd name="T3" fmla="*/ 0 h 15"/>
                <a:gd name="T4" fmla="*/ 0 w 63"/>
                <a:gd name="T5" fmla="*/ 6 h 15"/>
                <a:gd name="T6" fmla="*/ 0 w 63"/>
                <a:gd name="T7" fmla="*/ 9 h 15"/>
                <a:gd name="T8" fmla="*/ 5 w 63"/>
                <a:gd name="T9" fmla="*/ 15 h 15"/>
                <a:gd name="T10" fmla="*/ 57 w 63"/>
                <a:gd name="T11" fmla="*/ 15 h 15"/>
                <a:gd name="T12" fmla="*/ 63 w 63"/>
                <a:gd name="T13" fmla="*/ 9 h 15"/>
                <a:gd name="T14" fmla="*/ 63 w 63"/>
                <a:gd name="T15" fmla="*/ 6 h 15"/>
                <a:gd name="T16" fmla="*/ 57 w 63"/>
                <a:gd name="T17" fmla="*/ 0 h 15"/>
                <a:gd name="T18" fmla="*/ 56 w 63"/>
                <a:gd name="T19" fmla="*/ 10 h 15"/>
                <a:gd name="T20" fmla="*/ 32 w 63"/>
                <a:gd name="T21" fmla="*/ 10 h 15"/>
                <a:gd name="T22" fmla="*/ 29 w 63"/>
                <a:gd name="T23" fmla="*/ 7 h 15"/>
                <a:gd name="T24" fmla="*/ 32 w 63"/>
                <a:gd name="T25" fmla="*/ 4 h 15"/>
                <a:gd name="T26" fmla="*/ 56 w 63"/>
                <a:gd name="T27" fmla="*/ 4 h 15"/>
                <a:gd name="T28" fmla="*/ 59 w 63"/>
                <a:gd name="T29" fmla="*/ 7 h 15"/>
                <a:gd name="T30" fmla="*/ 56 w 63"/>
                <a:gd name="T3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3" h="15">
                  <a:moveTo>
                    <a:pt x="5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2"/>
                    <a:pt x="2" y="15"/>
                    <a:pt x="5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60" y="15"/>
                    <a:pt x="63" y="12"/>
                    <a:pt x="63" y="9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3" y="2"/>
                    <a:pt x="60" y="0"/>
                    <a:pt x="57" y="0"/>
                  </a:cubicBezTo>
                  <a:close/>
                  <a:moveTo>
                    <a:pt x="56" y="10"/>
                  </a:moveTo>
                  <a:cubicBezTo>
                    <a:pt x="32" y="10"/>
                    <a:pt x="32" y="10"/>
                    <a:pt x="32" y="10"/>
                  </a:cubicBezTo>
                  <a:cubicBezTo>
                    <a:pt x="30" y="10"/>
                    <a:pt x="29" y="9"/>
                    <a:pt x="29" y="7"/>
                  </a:cubicBezTo>
                  <a:cubicBezTo>
                    <a:pt x="29" y="6"/>
                    <a:pt x="30" y="4"/>
                    <a:pt x="32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7" y="4"/>
                    <a:pt x="59" y="6"/>
                    <a:pt x="59" y="7"/>
                  </a:cubicBezTo>
                  <a:cubicBezTo>
                    <a:pt x="59" y="9"/>
                    <a:pt x="57" y="10"/>
                    <a:pt x="56" y="1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76">
              <a:extLst>
                <a:ext uri="{FF2B5EF4-FFF2-40B4-BE49-F238E27FC236}">
                  <a16:creationId xmlns:a16="http://schemas.microsoft.com/office/drawing/2014/main" id="{7F85CE5B-C329-4115-9CD4-9FF4744AC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2225" y="2206625"/>
              <a:ext cx="141288" cy="146050"/>
            </a:xfrm>
            <a:custGeom>
              <a:avLst/>
              <a:gdLst>
                <a:gd name="T0" fmla="*/ 0 w 89"/>
                <a:gd name="T1" fmla="*/ 0 h 92"/>
                <a:gd name="T2" fmla="*/ 89 w 89"/>
                <a:gd name="T3" fmla="*/ 0 h 92"/>
                <a:gd name="T4" fmla="*/ 89 w 89"/>
                <a:gd name="T5" fmla="*/ 92 h 92"/>
                <a:gd name="T6" fmla="*/ 73 w 89"/>
                <a:gd name="T7" fmla="*/ 92 h 92"/>
                <a:gd name="T8" fmla="*/ 73 w 89"/>
                <a:gd name="T9" fmla="*/ 16 h 92"/>
                <a:gd name="T10" fmla="*/ 0 w 89"/>
                <a:gd name="T11" fmla="*/ 16 h 92"/>
                <a:gd name="T12" fmla="*/ 0 w 89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92">
                  <a:moveTo>
                    <a:pt x="0" y="0"/>
                  </a:moveTo>
                  <a:lnTo>
                    <a:pt x="89" y="0"/>
                  </a:lnTo>
                  <a:lnTo>
                    <a:pt x="89" y="92"/>
                  </a:lnTo>
                  <a:lnTo>
                    <a:pt x="73" y="92"/>
                  </a:lnTo>
                  <a:lnTo>
                    <a:pt x="73" y="16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Freeform 77">
              <a:extLst>
                <a:ext uri="{FF2B5EF4-FFF2-40B4-BE49-F238E27FC236}">
                  <a16:creationId xmlns:a16="http://schemas.microsoft.com/office/drawing/2014/main" id="{18C05B29-B761-4F0D-A72D-20785A038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747125" y="2386013"/>
              <a:ext cx="146050" cy="146050"/>
            </a:xfrm>
            <a:custGeom>
              <a:avLst/>
              <a:gdLst>
                <a:gd name="T0" fmla="*/ 0 w 92"/>
                <a:gd name="T1" fmla="*/ 0 h 92"/>
                <a:gd name="T2" fmla="*/ 19 w 92"/>
                <a:gd name="T3" fmla="*/ 0 h 92"/>
                <a:gd name="T4" fmla="*/ 19 w 92"/>
                <a:gd name="T5" fmla="*/ 75 h 92"/>
                <a:gd name="T6" fmla="*/ 92 w 92"/>
                <a:gd name="T7" fmla="*/ 75 h 92"/>
                <a:gd name="T8" fmla="*/ 92 w 92"/>
                <a:gd name="T9" fmla="*/ 92 h 92"/>
                <a:gd name="T10" fmla="*/ 0 w 92"/>
                <a:gd name="T11" fmla="*/ 92 h 92"/>
                <a:gd name="T12" fmla="*/ 0 w 92"/>
                <a:gd name="T13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92">
                  <a:moveTo>
                    <a:pt x="0" y="0"/>
                  </a:moveTo>
                  <a:lnTo>
                    <a:pt x="19" y="0"/>
                  </a:lnTo>
                  <a:lnTo>
                    <a:pt x="19" y="75"/>
                  </a:lnTo>
                  <a:lnTo>
                    <a:pt x="92" y="75"/>
                  </a:lnTo>
                  <a:lnTo>
                    <a:pt x="92" y="92"/>
                  </a:lnTo>
                  <a:lnTo>
                    <a:pt x="0" y="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5" name="Group 12512">
            <a:extLst>
              <a:ext uri="{FF2B5EF4-FFF2-40B4-BE49-F238E27FC236}">
                <a16:creationId xmlns:a16="http://schemas.microsoft.com/office/drawing/2014/main" id="{C1AFD8E7-C025-40F1-BEEE-DF243AFC1381}"/>
              </a:ext>
            </a:extLst>
          </p:cNvPr>
          <p:cNvGrpSpPr/>
          <p:nvPr userDrawn="1"/>
        </p:nvGrpSpPr>
        <p:grpSpPr>
          <a:xfrm>
            <a:off x="700110" y="2819809"/>
            <a:ext cx="390229" cy="387564"/>
            <a:chOff x="-14288" y="3198813"/>
            <a:chExt cx="465138" cy="461962"/>
          </a:xfrm>
        </p:grpSpPr>
        <p:sp>
          <p:nvSpPr>
            <p:cNvPr id="96" name="Freeform 78">
              <a:extLst>
                <a:ext uri="{FF2B5EF4-FFF2-40B4-BE49-F238E27FC236}">
                  <a16:creationId xmlns:a16="http://schemas.microsoft.com/office/drawing/2014/main" id="{FAEF3807-7BA3-47EC-BC8F-A1B5D5D89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25" y="3198813"/>
              <a:ext cx="314325" cy="334963"/>
            </a:xfrm>
            <a:custGeom>
              <a:avLst/>
              <a:gdLst>
                <a:gd name="T0" fmla="*/ 72 w 84"/>
                <a:gd name="T1" fmla="*/ 13 h 89"/>
                <a:gd name="T2" fmla="*/ 72 w 84"/>
                <a:gd name="T3" fmla="*/ 13 h 89"/>
                <a:gd name="T4" fmla="*/ 28 w 84"/>
                <a:gd name="T5" fmla="*/ 12 h 89"/>
                <a:gd name="T6" fmla="*/ 7 w 84"/>
                <a:gd name="T7" fmla="*/ 32 h 89"/>
                <a:gd name="T8" fmla="*/ 5 w 84"/>
                <a:gd name="T9" fmla="*/ 34 h 89"/>
                <a:gd name="T10" fmla="*/ 28 w 84"/>
                <a:gd name="T11" fmla="*/ 35 h 89"/>
                <a:gd name="T12" fmla="*/ 39 w 84"/>
                <a:gd name="T13" fmla="*/ 24 h 89"/>
                <a:gd name="T14" fmla="*/ 60 w 84"/>
                <a:gd name="T15" fmla="*/ 25 h 89"/>
                <a:gd name="T16" fmla="*/ 59 w 84"/>
                <a:gd name="T17" fmla="*/ 45 h 89"/>
                <a:gd name="T18" fmla="*/ 39 w 84"/>
                <a:gd name="T19" fmla="*/ 65 h 89"/>
                <a:gd name="T20" fmla="*/ 18 w 84"/>
                <a:gd name="T21" fmla="*/ 65 h 89"/>
                <a:gd name="T22" fmla="*/ 18 w 84"/>
                <a:gd name="T23" fmla="*/ 65 h 89"/>
                <a:gd name="T24" fmla="*/ 14 w 84"/>
                <a:gd name="T25" fmla="*/ 58 h 89"/>
                <a:gd name="T26" fmla="*/ 7 w 84"/>
                <a:gd name="T27" fmla="*/ 62 h 89"/>
                <a:gd name="T28" fmla="*/ 0 w 84"/>
                <a:gd name="T29" fmla="*/ 68 h 89"/>
                <a:gd name="T30" fmla="*/ 6 w 84"/>
                <a:gd name="T31" fmla="*/ 76 h 89"/>
                <a:gd name="T32" fmla="*/ 6 w 84"/>
                <a:gd name="T33" fmla="*/ 76 h 89"/>
                <a:gd name="T34" fmla="*/ 50 w 84"/>
                <a:gd name="T35" fmla="*/ 77 h 89"/>
                <a:gd name="T36" fmla="*/ 71 w 84"/>
                <a:gd name="T37" fmla="*/ 57 h 89"/>
                <a:gd name="T38" fmla="*/ 72 w 84"/>
                <a:gd name="T39" fmla="*/ 13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4" h="89">
                  <a:moveTo>
                    <a:pt x="72" y="13"/>
                  </a:moveTo>
                  <a:cubicBezTo>
                    <a:pt x="72" y="13"/>
                    <a:pt x="72" y="13"/>
                    <a:pt x="72" y="13"/>
                  </a:cubicBezTo>
                  <a:cubicBezTo>
                    <a:pt x="60" y="1"/>
                    <a:pt x="40" y="0"/>
                    <a:pt x="28" y="1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6" y="32"/>
                    <a:pt x="6" y="33"/>
                    <a:pt x="5" y="34"/>
                  </a:cubicBezTo>
                  <a:cubicBezTo>
                    <a:pt x="10" y="33"/>
                    <a:pt x="19" y="32"/>
                    <a:pt x="28" y="35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5" y="19"/>
                    <a:pt x="54" y="19"/>
                    <a:pt x="60" y="25"/>
                  </a:cubicBezTo>
                  <a:cubicBezTo>
                    <a:pt x="65" y="31"/>
                    <a:pt x="65" y="40"/>
                    <a:pt x="59" y="4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3" y="71"/>
                    <a:pt x="23" y="70"/>
                    <a:pt x="18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6" y="63"/>
                    <a:pt x="15" y="60"/>
                    <a:pt x="14" y="58"/>
                  </a:cubicBezTo>
                  <a:cubicBezTo>
                    <a:pt x="12" y="57"/>
                    <a:pt x="8" y="60"/>
                    <a:pt x="7" y="62"/>
                  </a:cubicBezTo>
                  <a:cubicBezTo>
                    <a:pt x="5" y="63"/>
                    <a:pt x="2" y="66"/>
                    <a:pt x="0" y="68"/>
                  </a:cubicBezTo>
                  <a:cubicBezTo>
                    <a:pt x="2" y="71"/>
                    <a:pt x="3" y="74"/>
                    <a:pt x="6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17" y="89"/>
                    <a:pt x="37" y="89"/>
                    <a:pt x="50" y="77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83" y="45"/>
                    <a:pt x="84" y="26"/>
                    <a:pt x="72" y="13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Freeform 79">
              <a:extLst>
                <a:ext uri="{FF2B5EF4-FFF2-40B4-BE49-F238E27FC236}">
                  <a16:creationId xmlns:a16="http://schemas.microsoft.com/office/drawing/2014/main" id="{6931D6E1-EBF8-4EDE-86E6-213448C88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4288" y="3327400"/>
              <a:ext cx="312738" cy="333375"/>
            </a:xfrm>
            <a:custGeom>
              <a:avLst/>
              <a:gdLst>
                <a:gd name="T0" fmla="*/ 13 w 83"/>
                <a:gd name="T1" fmla="*/ 76 h 89"/>
                <a:gd name="T2" fmla="*/ 13 w 83"/>
                <a:gd name="T3" fmla="*/ 76 h 89"/>
                <a:gd name="T4" fmla="*/ 57 w 83"/>
                <a:gd name="T5" fmla="*/ 77 h 89"/>
                <a:gd name="T6" fmla="*/ 77 w 83"/>
                <a:gd name="T7" fmla="*/ 57 h 89"/>
                <a:gd name="T8" fmla="*/ 79 w 83"/>
                <a:gd name="T9" fmla="*/ 55 h 89"/>
                <a:gd name="T10" fmla="*/ 56 w 83"/>
                <a:gd name="T11" fmla="*/ 54 h 89"/>
                <a:gd name="T12" fmla="*/ 45 w 83"/>
                <a:gd name="T13" fmla="*/ 65 h 89"/>
                <a:gd name="T14" fmla="*/ 25 w 83"/>
                <a:gd name="T15" fmla="*/ 65 h 89"/>
                <a:gd name="T16" fmla="*/ 25 w 83"/>
                <a:gd name="T17" fmla="*/ 44 h 89"/>
                <a:gd name="T18" fmla="*/ 45 w 83"/>
                <a:gd name="T19" fmla="*/ 24 h 89"/>
                <a:gd name="T20" fmla="*/ 66 w 83"/>
                <a:gd name="T21" fmla="*/ 24 h 89"/>
                <a:gd name="T22" fmla="*/ 66 w 83"/>
                <a:gd name="T23" fmla="*/ 24 h 89"/>
                <a:gd name="T24" fmla="*/ 69 w 83"/>
                <a:gd name="T25" fmla="*/ 31 h 89"/>
                <a:gd name="T26" fmla="*/ 77 w 83"/>
                <a:gd name="T27" fmla="*/ 27 h 89"/>
                <a:gd name="T28" fmla="*/ 83 w 83"/>
                <a:gd name="T29" fmla="*/ 20 h 89"/>
                <a:gd name="T30" fmla="*/ 78 w 83"/>
                <a:gd name="T31" fmla="*/ 12 h 89"/>
                <a:gd name="T32" fmla="*/ 78 w 83"/>
                <a:gd name="T33" fmla="*/ 12 h 89"/>
                <a:gd name="T34" fmla="*/ 34 w 83"/>
                <a:gd name="T35" fmla="*/ 12 h 89"/>
                <a:gd name="T36" fmla="*/ 13 w 83"/>
                <a:gd name="T37" fmla="*/ 32 h 89"/>
                <a:gd name="T38" fmla="*/ 13 w 83"/>
                <a:gd name="T39" fmla="*/ 7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3" h="89">
                  <a:moveTo>
                    <a:pt x="13" y="76"/>
                  </a:moveTo>
                  <a:cubicBezTo>
                    <a:pt x="13" y="76"/>
                    <a:pt x="13" y="76"/>
                    <a:pt x="13" y="76"/>
                  </a:cubicBezTo>
                  <a:cubicBezTo>
                    <a:pt x="25" y="89"/>
                    <a:pt x="45" y="89"/>
                    <a:pt x="57" y="77"/>
                  </a:cubicBezTo>
                  <a:cubicBezTo>
                    <a:pt x="77" y="57"/>
                    <a:pt x="77" y="57"/>
                    <a:pt x="77" y="57"/>
                  </a:cubicBezTo>
                  <a:cubicBezTo>
                    <a:pt x="78" y="56"/>
                    <a:pt x="79" y="56"/>
                    <a:pt x="79" y="55"/>
                  </a:cubicBezTo>
                  <a:cubicBezTo>
                    <a:pt x="74" y="56"/>
                    <a:pt x="65" y="57"/>
                    <a:pt x="56" y="54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0" y="70"/>
                    <a:pt x="30" y="70"/>
                    <a:pt x="25" y="65"/>
                  </a:cubicBezTo>
                  <a:cubicBezTo>
                    <a:pt x="19" y="59"/>
                    <a:pt x="19" y="49"/>
                    <a:pt x="25" y="4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51" y="18"/>
                    <a:pt x="60" y="18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8" y="26"/>
                    <a:pt x="69" y="28"/>
                    <a:pt x="69" y="31"/>
                  </a:cubicBezTo>
                  <a:cubicBezTo>
                    <a:pt x="72" y="32"/>
                    <a:pt x="75" y="29"/>
                    <a:pt x="77" y="27"/>
                  </a:cubicBezTo>
                  <a:cubicBezTo>
                    <a:pt x="78" y="26"/>
                    <a:pt x="81" y="22"/>
                    <a:pt x="83" y="20"/>
                  </a:cubicBezTo>
                  <a:cubicBezTo>
                    <a:pt x="82" y="17"/>
                    <a:pt x="80" y="15"/>
                    <a:pt x="78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66" y="0"/>
                    <a:pt x="46" y="0"/>
                    <a:pt x="34" y="1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" y="44"/>
                    <a:pt x="0" y="64"/>
                    <a:pt x="13" y="76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8" name="Group 12511">
            <a:extLst>
              <a:ext uri="{FF2B5EF4-FFF2-40B4-BE49-F238E27FC236}">
                <a16:creationId xmlns:a16="http://schemas.microsoft.com/office/drawing/2014/main" id="{28363353-ECBC-4331-A720-490F76A4D5C2}"/>
              </a:ext>
            </a:extLst>
          </p:cNvPr>
          <p:cNvGrpSpPr/>
          <p:nvPr userDrawn="1"/>
        </p:nvGrpSpPr>
        <p:grpSpPr>
          <a:xfrm>
            <a:off x="1616959" y="2816043"/>
            <a:ext cx="396887" cy="396887"/>
            <a:chOff x="1081087" y="3176588"/>
            <a:chExt cx="473075" cy="473075"/>
          </a:xfrm>
        </p:grpSpPr>
        <p:sp>
          <p:nvSpPr>
            <p:cNvPr id="99" name="Freeform 80">
              <a:extLst>
                <a:ext uri="{FF2B5EF4-FFF2-40B4-BE49-F238E27FC236}">
                  <a16:creationId xmlns:a16="http://schemas.microsoft.com/office/drawing/2014/main" id="{04344D62-65B5-4748-8757-907A7798D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3012" y="3176588"/>
              <a:ext cx="311150" cy="346075"/>
            </a:xfrm>
            <a:custGeom>
              <a:avLst/>
              <a:gdLst>
                <a:gd name="T0" fmla="*/ 71 w 83"/>
                <a:gd name="T1" fmla="*/ 12 h 92"/>
                <a:gd name="T2" fmla="*/ 25 w 83"/>
                <a:gd name="T3" fmla="*/ 12 h 92"/>
                <a:gd name="T4" fmla="*/ 11 w 83"/>
                <a:gd name="T5" fmla="*/ 27 h 92"/>
                <a:gd name="T6" fmla="*/ 31 w 83"/>
                <a:gd name="T7" fmla="*/ 29 h 92"/>
                <a:gd name="T8" fmla="*/ 36 w 83"/>
                <a:gd name="T9" fmla="*/ 24 h 92"/>
                <a:gd name="T10" fmla="*/ 59 w 83"/>
                <a:gd name="T11" fmla="*/ 24 h 92"/>
                <a:gd name="T12" fmla="*/ 60 w 83"/>
                <a:gd name="T13" fmla="*/ 24 h 92"/>
                <a:gd name="T14" fmla="*/ 60 w 83"/>
                <a:gd name="T15" fmla="*/ 47 h 92"/>
                <a:gd name="T16" fmla="*/ 38 w 83"/>
                <a:gd name="T17" fmla="*/ 68 h 92"/>
                <a:gd name="T18" fmla="*/ 15 w 83"/>
                <a:gd name="T19" fmla="*/ 68 h 92"/>
                <a:gd name="T20" fmla="*/ 15 w 83"/>
                <a:gd name="T21" fmla="*/ 68 h 92"/>
                <a:gd name="T22" fmla="*/ 11 w 83"/>
                <a:gd name="T23" fmla="*/ 63 h 92"/>
                <a:gd name="T24" fmla="*/ 0 w 83"/>
                <a:gd name="T25" fmla="*/ 75 h 92"/>
                <a:gd name="T26" fmla="*/ 4 w 83"/>
                <a:gd name="T27" fmla="*/ 79 h 92"/>
                <a:gd name="T28" fmla="*/ 49 w 83"/>
                <a:gd name="T29" fmla="*/ 79 h 92"/>
                <a:gd name="T30" fmla="*/ 71 w 83"/>
                <a:gd name="T31" fmla="*/ 58 h 92"/>
                <a:gd name="T32" fmla="*/ 71 w 83"/>
                <a:gd name="T33" fmla="*/ 1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3" h="92">
                  <a:moveTo>
                    <a:pt x="71" y="12"/>
                  </a:moveTo>
                  <a:cubicBezTo>
                    <a:pt x="58" y="0"/>
                    <a:pt x="37" y="0"/>
                    <a:pt x="25" y="12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8" y="27"/>
                    <a:pt x="26" y="28"/>
                    <a:pt x="31" y="29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43" y="17"/>
                    <a:pt x="53" y="17"/>
                    <a:pt x="59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6" y="30"/>
                    <a:pt x="66" y="41"/>
                    <a:pt x="60" y="4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2" y="75"/>
                    <a:pt x="21" y="75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3" y="67"/>
                    <a:pt x="12" y="65"/>
                    <a:pt x="11" y="6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" y="76"/>
                    <a:pt x="2" y="78"/>
                    <a:pt x="4" y="79"/>
                  </a:cubicBezTo>
                  <a:cubicBezTo>
                    <a:pt x="16" y="92"/>
                    <a:pt x="37" y="92"/>
                    <a:pt x="49" y="79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83" y="45"/>
                    <a:pt x="83" y="25"/>
                    <a:pt x="71" y="1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81">
              <a:extLst>
                <a:ext uri="{FF2B5EF4-FFF2-40B4-BE49-F238E27FC236}">
                  <a16:creationId xmlns:a16="http://schemas.microsoft.com/office/drawing/2014/main" id="{8F494692-60E6-46AC-A46C-A03DD66B3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087" y="3305175"/>
              <a:ext cx="315913" cy="344488"/>
            </a:xfrm>
            <a:custGeom>
              <a:avLst/>
              <a:gdLst>
                <a:gd name="T0" fmla="*/ 13 w 84"/>
                <a:gd name="T1" fmla="*/ 80 h 92"/>
                <a:gd name="T2" fmla="*/ 58 w 84"/>
                <a:gd name="T3" fmla="*/ 80 h 92"/>
                <a:gd name="T4" fmla="*/ 73 w 84"/>
                <a:gd name="T5" fmla="*/ 65 h 92"/>
                <a:gd name="T6" fmla="*/ 53 w 84"/>
                <a:gd name="T7" fmla="*/ 63 h 92"/>
                <a:gd name="T8" fmla="*/ 47 w 84"/>
                <a:gd name="T9" fmla="*/ 68 h 92"/>
                <a:gd name="T10" fmla="*/ 24 w 84"/>
                <a:gd name="T11" fmla="*/ 68 h 92"/>
                <a:gd name="T12" fmla="*/ 24 w 84"/>
                <a:gd name="T13" fmla="*/ 68 h 92"/>
                <a:gd name="T14" fmla="*/ 24 w 84"/>
                <a:gd name="T15" fmla="*/ 45 h 92"/>
                <a:gd name="T16" fmla="*/ 45 w 84"/>
                <a:gd name="T17" fmla="*/ 24 h 92"/>
                <a:gd name="T18" fmla="*/ 68 w 84"/>
                <a:gd name="T19" fmla="*/ 24 h 92"/>
                <a:gd name="T20" fmla="*/ 68 w 84"/>
                <a:gd name="T21" fmla="*/ 24 h 92"/>
                <a:gd name="T22" fmla="*/ 72 w 84"/>
                <a:gd name="T23" fmla="*/ 29 h 92"/>
                <a:gd name="T24" fmla="*/ 84 w 84"/>
                <a:gd name="T25" fmla="*/ 17 h 92"/>
                <a:gd name="T26" fmla="*/ 80 w 84"/>
                <a:gd name="T27" fmla="*/ 13 h 92"/>
                <a:gd name="T28" fmla="*/ 34 w 84"/>
                <a:gd name="T29" fmla="*/ 13 h 92"/>
                <a:gd name="T30" fmla="*/ 13 w 84"/>
                <a:gd name="T31" fmla="*/ 34 h 92"/>
                <a:gd name="T32" fmla="*/ 13 w 84"/>
                <a:gd name="T33" fmla="*/ 8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92">
                  <a:moveTo>
                    <a:pt x="13" y="80"/>
                  </a:moveTo>
                  <a:cubicBezTo>
                    <a:pt x="25" y="92"/>
                    <a:pt x="46" y="92"/>
                    <a:pt x="58" y="80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66" y="65"/>
                    <a:pt x="57" y="64"/>
                    <a:pt x="53" y="63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1" y="75"/>
                    <a:pt x="30" y="75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17" y="62"/>
                    <a:pt x="17" y="51"/>
                    <a:pt x="24" y="45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52" y="17"/>
                    <a:pt x="62" y="17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ubicBezTo>
                    <a:pt x="70" y="25"/>
                    <a:pt x="71" y="27"/>
                    <a:pt x="72" y="29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82" y="16"/>
                    <a:pt x="81" y="14"/>
                    <a:pt x="80" y="13"/>
                  </a:cubicBezTo>
                  <a:cubicBezTo>
                    <a:pt x="67" y="0"/>
                    <a:pt x="47" y="0"/>
                    <a:pt x="34" y="13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46"/>
                    <a:pt x="0" y="67"/>
                    <a:pt x="13" y="8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1" name="Group 12510">
            <a:extLst>
              <a:ext uri="{FF2B5EF4-FFF2-40B4-BE49-F238E27FC236}">
                <a16:creationId xmlns:a16="http://schemas.microsoft.com/office/drawing/2014/main" id="{9DA27AA8-D3B7-494A-A948-29EEA9421FFA}"/>
              </a:ext>
            </a:extLst>
          </p:cNvPr>
          <p:cNvGrpSpPr/>
          <p:nvPr userDrawn="1"/>
        </p:nvGrpSpPr>
        <p:grpSpPr>
          <a:xfrm>
            <a:off x="2539186" y="2819809"/>
            <a:ext cx="390228" cy="387564"/>
            <a:chOff x="2190750" y="3236913"/>
            <a:chExt cx="465137" cy="461962"/>
          </a:xfrm>
        </p:grpSpPr>
        <p:sp>
          <p:nvSpPr>
            <p:cNvPr id="102" name="Freeform 82">
              <a:extLst>
                <a:ext uri="{FF2B5EF4-FFF2-40B4-BE49-F238E27FC236}">
                  <a16:creationId xmlns:a16="http://schemas.microsoft.com/office/drawing/2014/main" id="{2B39E865-9268-45C6-8A1F-30AE831A3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3787" y="3236913"/>
              <a:ext cx="292100" cy="292100"/>
            </a:xfrm>
            <a:custGeom>
              <a:avLst/>
              <a:gdLst>
                <a:gd name="T0" fmla="*/ 65 w 78"/>
                <a:gd name="T1" fmla="*/ 12 h 78"/>
                <a:gd name="T2" fmla="*/ 65 w 78"/>
                <a:gd name="T3" fmla="*/ 12 h 78"/>
                <a:gd name="T4" fmla="*/ 21 w 78"/>
                <a:gd name="T5" fmla="*/ 12 h 78"/>
                <a:gd name="T6" fmla="*/ 0 w 78"/>
                <a:gd name="T7" fmla="*/ 34 h 78"/>
                <a:gd name="T8" fmla="*/ 12 w 78"/>
                <a:gd name="T9" fmla="*/ 46 h 78"/>
                <a:gd name="T10" fmla="*/ 33 w 78"/>
                <a:gd name="T11" fmla="*/ 25 h 78"/>
                <a:gd name="T12" fmla="*/ 53 w 78"/>
                <a:gd name="T13" fmla="*/ 25 h 78"/>
                <a:gd name="T14" fmla="*/ 53 w 78"/>
                <a:gd name="T15" fmla="*/ 25 h 78"/>
                <a:gd name="T16" fmla="*/ 53 w 78"/>
                <a:gd name="T17" fmla="*/ 45 h 78"/>
                <a:gd name="T18" fmla="*/ 32 w 78"/>
                <a:gd name="T19" fmla="*/ 66 h 78"/>
                <a:gd name="T20" fmla="*/ 44 w 78"/>
                <a:gd name="T21" fmla="*/ 78 h 78"/>
                <a:gd name="T22" fmla="*/ 65 w 78"/>
                <a:gd name="T23" fmla="*/ 57 h 78"/>
                <a:gd name="T24" fmla="*/ 65 w 78"/>
                <a:gd name="T25" fmla="*/ 1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78">
                  <a:moveTo>
                    <a:pt x="65" y="12"/>
                  </a:moveTo>
                  <a:cubicBezTo>
                    <a:pt x="65" y="12"/>
                    <a:pt x="65" y="12"/>
                    <a:pt x="65" y="12"/>
                  </a:cubicBezTo>
                  <a:cubicBezTo>
                    <a:pt x="53" y="0"/>
                    <a:pt x="33" y="0"/>
                    <a:pt x="21" y="1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8" y="19"/>
                    <a:pt x="47" y="19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8" y="30"/>
                    <a:pt x="58" y="39"/>
                    <a:pt x="53" y="45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78" y="44"/>
                    <a:pt x="78" y="25"/>
                    <a:pt x="65" y="1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Freeform 83">
              <a:extLst>
                <a:ext uri="{FF2B5EF4-FFF2-40B4-BE49-F238E27FC236}">
                  <a16:creationId xmlns:a16="http://schemas.microsoft.com/office/drawing/2014/main" id="{18FDEF44-72C1-4E69-85A4-336A74005E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750" y="3409950"/>
              <a:ext cx="293688" cy="288925"/>
            </a:xfrm>
            <a:custGeom>
              <a:avLst/>
              <a:gdLst>
                <a:gd name="T0" fmla="*/ 66 w 78"/>
                <a:gd name="T1" fmla="*/ 31 h 77"/>
                <a:gd name="T2" fmla="*/ 45 w 78"/>
                <a:gd name="T3" fmla="*/ 53 h 77"/>
                <a:gd name="T4" fmla="*/ 25 w 78"/>
                <a:gd name="T5" fmla="*/ 53 h 77"/>
                <a:gd name="T6" fmla="*/ 25 w 78"/>
                <a:gd name="T7" fmla="*/ 53 h 77"/>
                <a:gd name="T8" fmla="*/ 25 w 78"/>
                <a:gd name="T9" fmla="*/ 33 h 77"/>
                <a:gd name="T10" fmla="*/ 46 w 78"/>
                <a:gd name="T11" fmla="*/ 12 h 77"/>
                <a:gd name="T12" fmla="*/ 34 w 78"/>
                <a:gd name="T13" fmla="*/ 0 h 77"/>
                <a:gd name="T14" fmla="*/ 12 w 78"/>
                <a:gd name="T15" fmla="*/ 21 h 77"/>
                <a:gd name="T16" fmla="*/ 12 w 78"/>
                <a:gd name="T17" fmla="*/ 65 h 77"/>
                <a:gd name="T18" fmla="*/ 57 w 78"/>
                <a:gd name="T19" fmla="*/ 65 h 77"/>
                <a:gd name="T20" fmla="*/ 78 w 78"/>
                <a:gd name="T21" fmla="*/ 44 h 77"/>
                <a:gd name="T22" fmla="*/ 66 w 78"/>
                <a:gd name="T23" fmla="*/ 31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7">
                  <a:moveTo>
                    <a:pt x="66" y="31"/>
                  </a:moveTo>
                  <a:cubicBezTo>
                    <a:pt x="45" y="53"/>
                    <a:pt x="45" y="53"/>
                    <a:pt x="45" y="53"/>
                  </a:cubicBezTo>
                  <a:cubicBezTo>
                    <a:pt x="39" y="58"/>
                    <a:pt x="30" y="58"/>
                    <a:pt x="25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9" y="47"/>
                    <a:pt x="19" y="38"/>
                    <a:pt x="25" y="33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0" y="33"/>
                    <a:pt x="0" y="53"/>
                    <a:pt x="12" y="65"/>
                  </a:cubicBezTo>
                  <a:cubicBezTo>
                    <a:pt x="25" y="77"/>
                    <a:pt x="44" y="77"/>
                    <a:pt x="57" y="65"/>
                  </a:cubicBezTo>
                  <a:cubicBezTo>
                    <a:pt x="78" y="44"/>
                    <a:pt x="78" y="44"/>
                    <a:pt x="78" y="44"/>
                  </a:cubicBezTo>
                  <a:lnTo>
                    <a:pt x="66" y="31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4" name="Group 12509">
            <a:extLst>
              <a:ext uri="{FF2B5EF4-FFF2-40B4-BE49-F238E27FC236}">
                <a16:creationId xmlns:a16="http://schemas.microsoft.com/office/drawing/2014/main" id="{20846F0F-1E0B-4C68-8EDC-E61CBFCECF00}"/>
              </a:ext>
            </a:extLst>
          </p:cNvPr>
          <p:cNvGrpSpPr/>
          <p:nvPr userDrawn="1"/>
        </p:nvGrpSpPr>
        <p:grpSpPr>
          <a:xfrm>
            <a:off x="3433433" y="2781067"/>
            <a:ext cx="452824" cy="483457"/>
            <a:chOff x="3197225" y="3087688"/>
            <a:chExt cx="539750" cy="576263"/>
          </a:xfrm>
        </p:grpSpPr>
        <p:sp>
          <p:nvSpPr>
            <p:cNvPr id="105" name="Oval 84">
              <a:extLst>
                <a:ext uri="{FF2B5EF4-FFF2-40B4-BE49-F238E27FC236}">
                  <a16:creationId xmlns:a16="http://schemas.microsoft.com/office/drawing/2014/main" id="{B8B27956-F2A4-44DC-AFE6-2D3667FAA4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9000" y="3586163"/>
              <a:ext cx="79375" cy="77788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85">
              <a:extLst>
                <a:ext uri="{FF2B5EF4-FFF2-40B4-BE49-F238E27FC236}">
                  <a16:creationId xmlns:a16="http://schemas.microsoft.com/office/drawing/2014/main" id="{0A42804A-D653-4810-AA44-1117FA2695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7225" y="3087688"/>
              <a:ext cx="539750" cy="280988"/>
            </a:xfrm>
            <a:custGeom>
              <a:avLst/>
              <a:gdLst>
                <a:gd name="T0" fmla="*/ 135 w 144"/>
                <a:gd name="T1" fmla="*/ 75 h 75"/>
                <a:gd name="T2" fmla="*/ 11 w 144"/>
                <a:gd name="T3" fmla="*/ 74 h 75"/>
                <a:gd name="T4" fmla="*/ 0 w 144"/>
                <a:gd name="T5" fmla="*/ 63 h 75"/>
                <a:gd name="T6" fmla="*/ 144 w 144"/>
                <a:gd name="T7" fmla="*/ 63 h 75"/>
                <a:gd name="T8" fmla="*/ 135 w 144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75">
                  <a:moveTo>
                    <a:pt x="135" y="75"/>
                  </a:moveTo>
                  <a:cubicBezTo>
                    <a:pt x="68" y="20"/>
                    <a:pt x="13" y="72"/>
                    <a:pt x="11" y="74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1" y="63"/>
                    <a:pt x="67" y="0"/>
                    <a:pt x="144" y="63"/>
                  </a:cubicBezTo>
                  <a:lnTo>
                    <a:pt x="135" y="75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86">
              <a:extLst>
                <a:ext uri="{FF2B5EF4-FFF2-40B4-BE49-F238E27FC236}">
                  <a16:creationId xmlns:a16="http://schemas.microsoft.com/office/drawing/2014/main" id="{9B3C3BF9-5299-453C-B197-4F3032287D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5012" y="3286125"/>
              <a:ext cx="382588" cy="179388"/>
            </a:xfrm>
            <a:custGeom>
              <a:avLst/>
              <a:gdLst>
                <a:gd name="T0" fmla="*/ 92 w 102"/>
                <a:gd name="T1" fmla="*/ 48 h 48"/>
                <a:gd name="T2" fmla="*/ 11 w 102"/>
                <a:gd name="T3" fmla="*/ 48 h 48"/>
                <a:gd name="T4" fmla="*/ 0 w 102"/>
                <a:gd name="T5" fmla="*/ 37 h 48"/>
                <a:gd name="T6" fmla="*/ 102 w 102"/>
                <a:gd name="T7" fmla="*/ 36 h 48"/>
                <a:gd name="T8" fmla="*/ 92 w 102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48">
                  <a:moveTo>
                    <a:pt x="92" y="48"/>
                  </a:moveTo>
                  <a:cubicBezTo>
                    <a:pt x="49" y="11"/>
                    <a:pt x="12" y="46"/>
                    <a:pt x="11" y="4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7" y="21"/>
                    <a:pt x="59" y="0"/>
                    <a:pt x="102" y="36"/>
                  </a:cubicBezTo>
                  <a:lnTo>
                    <a:pt x="92" y="48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 87">
              <a:extLst>
                <a:ext uri="{FF2B5EF4-FFF2-40B4-BE49-F238E27FC236}">
                  <a16:creationId xmlns:a16="http://schemas.microsoft.com/office/drawing/2014/main" id="{821B6851-1E42-4A89-973D-D46EB6EA44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62" y="3440113"/>
              <a:ext cx="220663" cy="119063"/>
            </a:xfrm>
            <a:custGeom>
              <a:avLst/>
              <a:gdLst>
                <a:gd name="T0" fmla="*/ 10 w 59"/>
                <a:gd name="T1" fmla="*/ 32 h 32"/>
                <a:gd name="T2" fmla="*/ 0 w 59"/>
                <a:gd name="T3" fmla="*/ 21 h 32"/>
                <a:gd name="T4" fmla="*/ 59 w 59"/>
                <a:gd name="T5" fmla="*/ 21 h 32"/>
                <a:gd name="T6" fmla="*/ 49 w 59"/>
                <a:gd name="T7" fmla="*/ 32 h 32"/>
                <a:gd name="T8" fmla="*/ 10 w 59"/>
                <a:gd name="T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32">
                  <a:moveTo>
                    <a:pt x="10" y="32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10" y="12"/>
                    <a:pt x="36" y="0"/>
                    <a:pt x="59" y="21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30" y="15"/>
                    <a:pt x="11" y="32"/>
                    <a:pt x="10" y="3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9" name="Group 12508">
            <a:extLst>
              <a:ext uri="{FF2B5EF4-FFF2-40B4-BE49-F238E27FC236}">
                <a16:creationId xmlns:a16="http://schemas.microsoft.com/office/drawing/2014/main" id="{D00901E5-9158-4066-BD3A-12575FC8737E}"/>
              </a:ext>
            </a:extLst>
          </p:cNvPr>
          <p:cNvGrpSpPr/>
          <p:nvPr userDrawn="1"/>
        </p:nvGrpSpPr>
        <p:grpSpPr>
          <a:xfrm>
            <a:off x="4360503" y="2816581"/>
            <a:ext cx="434179" cy="395555"/>
            <a:chOff x="4302125" y="3214688"/>
            <a:chExt cx="517525" cy="471487"/>
          </a:xfrm>
        </p:grpSpPr>
        <p:sp>
          <p:nvSpPr>
            <p:cNvPr id="110" name="Freeform 88">
              <a:extLst>
                <a:ext uri="{FF2B5EF4-FFF2-40B4-BE49-F238E27FC236}">
                  <a16:creationId xmlns:a16="http://schemas.microsoft.com/office/drawing/2014/main" id="{FC1ED7F0-F51A-4631-914E-DDC863D7F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4375" y="3308350"/>
              <a:ext cx="77788" cy="377825"/>
            </a:xfrm>
            <a:custGeom>
              <a:avLst/>
              <a:gdLst>
                <a:gd name="T0" fmla="*/ 11 w 21"/>
                <a:gd name="T1" fmla="*/ 101 h 101"/>
                <a:gd name="T2" fmla="*/ 10 w 21"/>
                <a:gd name="T3" fmla="*/ 101 h 101"/>
                <a:gd name="T4" fmla="*/ 0 w 21"/>
                <a:gd name="T5" fmla="*/ 92 h 101"/>
                <a:gd name="T6" fmla="*/ 0 w 21"/>
                <a:gd name="T7" fmla="*/ 10 h 101"/>
                <a:gd name="T8" fmla="*/ 10 w 21"/>
                <a:gd name="T9" fmla="*/ 0 h 101"/>
                <a:gd name="T10" fmla="*/ 11 w 21"/>
                <a:gd name="T11" fmla="*/ 0 h 101"/>
                <a:gd name="T12" fmla="*/ 21 w 21"/>
                <a:gd name="T13" fmla="*/ 10 h 101"/>
                <a:gd name="T14" fmla="*/ 21 w 21"/>
                <a:gd name="T15" fmla="*/ 92 h 101"/>
                <a:gd name="T16" fmla="*/ 11 w 21"/>
                <a:gd name="T1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1">
                  <a:moveTo>
                    <a:pt x="11" y="101"/>
                  </a:moveTo>
                  <a:cubicBezTo>
                    <a:pt x="10" y="101"/>
                    <a:pt x="10" y="101"/>
                    <a:pt x="10" y="101"/>
                  </a:cubicBezTo>
                  <a:cubicBezTo>
                    <a:pt x="4" y="101"/>
                    <a:pt x="0" y="97"/>
                    <a:pt x="0" y="9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6" y="0"/>
                    <a:pt x="21" y="4"/>
                    <a:pt x="21" y="10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97"/>
                    <a:pt x="16" y="101"/>
                    <a:pt x="11" y="101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Freeform 89">
              <a:extLst>
                <a:ext uri="{FF2B5EF4-FFF2-40B4-BE49-F238E27FC236}">
                  <a16:creationId xmlns:a16="http://schemas.microsoft.com/office/drawing/2014/main" id="{E9DBDE6E-0B68-4772-BCFE-B568A7C3E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2125" y="3214688"/>
              <a:ext cx="117475" cy="382588"/>
            </a:xfrm>
            <a:custGeom>
              <a:avLst/>
              <a:gdLst>
                <a:gd name="T0" fmla="*/ 24 w 31"/>
                <a:gd name="T1" fmla="*/ 3 h 102"/>
                <a:gd name="T2" fmla="*/ 28 w 31"/>
                <a:gd name="T3" fmla="*/ 7 h 102"/>
                <a:gd name="T4" fmla="*/ 27 w 31"/>
                <a:gd name="T5" fmla="*/ 13 h 102"/>
                <a:gd name="T6" fmla="*/ 13 w 31"/>
                <a:gd name="T7" fmla="*/ 51 h 102"/>
                <a:gd name="T8" fmla="*/ 28 w 31"/>
                <a:gd name="T9" fmla="*/ 91 h 102"/>
                <a:gd name="T10" fmla="*/ 29 w 31"/>
                <a:gd name="T11" fmla="*/ 95 h 102"/>
                <a:gd name="T12" fmla="*/ 24 w 31"/>
                <a:gd name="T13" fmla="*/ 101 h 102"/>
                <a:gd name="T14" fmla="*/ 19 w 31"/>
                <a:gd name="T15" fmla="*/ 100 h 102"/>
                <a:gd name="T16" fmla="*/ 0 w 31"/>
                <a:gd name="T17" fmla="*/ 49 h 102"/>
                <a:gd name="T18" fmla="*/ 18 w 31"/>
                <a:gd name="T19" fmla="*/ 4 h 102"/>
                <a:gd name="T20" fmla="*/ 24 w 31"/>
                <a:gd name="T21" fmla="*/ 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02">
                  <a:moveTo>
                    <a:pt x="24" y="3"/>
                  </a:moveTo>
                  <a:cubicBezTo>
                    <a:pt x="26" y="5"/>
                    <a:pt x="26" y="4"/>
                    <a:pt x="28" y="7"/>
                  </a:cubicBezTo>
                  <a:cubicBezTo>
                    <a:pt x="31" y="9"/>
                    <a:pt x="27" y="13"/>
                    <a:pt x="27" y="13"/>
                  </a:cubicBezTo>
                  <a:cubicBezTo>
                    <a:pt x="27" y="13"/>
                    <a:pt x="13" y="28"/>
                    <a:pt x="13" y="51"/>
                  </a:cubicBezTo>
                  <a:cubicBezTo>
                    <a:pt x="13" y="77"/>
                    <a:pt x="26" y="88"/>
                    <a:pt x="28" y="91"/>
                  </a:cubicBezTo>
                  <a:cubicBezTo>
                    <a:pt x="30" y="93"/>
                    <a:pt x="29" y="95"/>
                    <a:pt x="29" y="95"/>
                  </a:cubicBezTo>
                  <a:cubicBezTo>
                    <a:pt x="29" y="95"/>
                    <a:pt x="27" y="99"/>
                    <a:pt x="24" y="101"/>
                  </a:cubicBezTo>
                  <a:cubicBezTo>
                    <a:pt x="21" y="102"/>
                    <a:pt x="19" y="100"/>
                    <a:pt x="19" y="100"/>
                  </a:cubicBezTo>
                  <a:cubicBezTo>
                    <a:pt x="19" y="100"/>
                    <a:pt x="0" y="82"/>
                    <a:pt x="0" y="49"/>
                  </a:cubicBezTo>
                  <a:cubicBezTo>
                    <a:pt x="0" y="24"/>
                    <a:pt x="18" y="4"/>
                    <a:pt x="18" y="4"/>
                  </a:cubicBezTo>
                  <a:cubicBezTo>
                    <a:pt x="18" y="4"/>
                    <a:pt x="21" y="0"/>
                    <a:pt x="24" y="3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90">
              <a:extLst>
                <a:ext uri="{FF2B5EF4-FFF2-40B4-BE49-F238E27FC236}">
                  <a16:creationId xmlns:a16="http://schemas.microsoft.com/office/drawing/2014/main" id="{51E3756E-F13A-4B99-9022-6F0CD1EA3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7050" y="3278188"/>
              <a:ext cx="138113" cy="258763"/>
            </a:xfrm>
            <a:custGeom>
              <a:avLst/>
              <a:gdLst>
                <a:gd name="T0" fmla="*/ 31 w 37"/>
                <a:gd name="T1" fmla="*/ 2 h 69"/>
                <a:gd name="T2" fmla="*/ 36 w 37"/>
                <a:gd name="T3" fmla="*/ 6 h 69"/>
                <a:gd name="T4" fmla="*/ 35 w 37"/>
                <a:gd name="T5" fmla="*/ 11 h 69"/>
                <a:gd name="T6" fmla="*/ 35 w 37"/>
                <a:gd name="T7" fmla="*/ 58 h 69"/>
                <a:gd name="T8" fmla="*/ 35 w 37"/>
                <a:gd name="T9" fmla="*/ 64 h 69"/>
                <a:gd name="T10" fmla="*/ 31 w 37"/>
                <a:gd name="T11" fmla="*/ 68 h 69"/>
                <a:gd name="T12" fmla="*/ 26 w 37"/>
                <a:gd name="T13" fmla="*/ 67 h 69"/>
                <a:gd name="T14" fmla="*/ 26 w 37"/>
                <a:gd name="T15" fmla="*/ 3 h 69"/>
                <a:gd name="T16" fmla="*/ 31 w 37"/>
                <a:gd name="T17" fmla="*/ 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69">
                  <a:moveTo>
                    <a:pt x="31" y="2"/>
                  </a:moveTo>
                  <a:cubicBezTo>
                    <a:pt x="33" y="3"/>
                    <a:pt x="34" y="5"/>
                    <a:pt x="36" y="6"/>
                  </a:cubicBezTo>
                  <a:cubicBezTo>
                    <a:pt x="37" y="8"/>
                    <a:pt x="35" y="11"/>
                    <a:pt x="35" y="11"/>
                  </a:cubicBezTo>
                  <a:cubicBezTo>
                    <a:pt x="35" y="11"/>
                    <a:pt x="16" y="33"/>
                    <a:pt x="35" y="58"/>
                  </a:cubicBezTo>
                  <a:cubicBezTo>
                    <a:pt x="37" y="60"/>
                    <a:pt x="36" y="62"/>
                    <a:pt x="35" y="64"/>
                  </a:cubicBezTo>
                  <a:cubicBezTo>
                    <a:pt x="34" y="65"/>
                    <a:pt x="32" y="67"/>
                    <a:pt x="31" y="68"/>
                  </a:cubicBezTo>
                  <a:cubicBezTo>
                    <a:pt x="30" y="69"/>
                    <a:pt x="28" y="69"/>
                    <a:pt x="26" y="67"/>
                  </a:cubicBezTo>
                  <a:cubicBezTo>
                    <a:pt x="24" y="65"/>
                    <a:pt x="0" y="34"/>
                    <a:pt x="26" y="3"/>
                  </a:cubicBezTo>
                  <a:cubicBezTo>
                    <a:pt x="27" y="1"/>
                    <a:pt x="29" y="0"/>
                    <a:pt x="31" y="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Freeform 91">
              <a:extLst>
                <a:ext uri="{FF2B5EF4-FFF2-40B4-BE49-F238E27FC236}">
                  <a16:creationId xmlns:a16="http://schemas.microsoft.com/office/drawing/2014/main" id="{4F78F775-7E8B-4773-878A-F7C1294E1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8525" y="3214688"/>
              <a:ext cx="111125" cy="382588"/>
            </a:xfrm>
            <a:custGeom>
              <a:avLst/>
              <a:gdLst>
                <a:gd name="T0" fmla="*/ 7 w 30"/>
                <a:gd name="T1" fmla="*/ 3 h 102"/>
                <a:gd name="T2" fmla="*/ 3 w 30"/>
                <a:gd name="T3" fmla="*/ 7 h 102"/>
                <a:gd name="T4" fmla="*/ 3 w 30"/>
                <a:gd name="T5" fmla="*/ 13 h 102"/>
                <a:gd name="T6" fmla="*/ 18 w 30"/>
                <a:gd name="T7" fmla="*/ 51 h 102"/>
                <a:gd name="T8" fmla="*/ 3 w 30"/>
                <a:gd name="T9" fmla="*/ 91 h 102"/>
                <a:gd name="T10" fmla="*/ 2 w 30"/>
                <a:gd name="T11" fmla="*/ 95 h 102"/>
                <a:gd name="T12" fmla="*/ 7 w 30"/>
                <a:gd name="T13" fmla="*/ 101 h 102"/>
                <a:gd name="T14" fmla="*/ 12 w 30"/>
                <a:gd name="T15" fmla="*/ 100 h 102"/>
                <a:gd name="T16" fmla="*/ 30 w 30"/>
                <a:gd name="T17" fmla="*/ 49 h 102"/>
                <a:gd name="T18" fmla="*/ 12 w 30"/>
                <a:gd name="T19" fmla="*/ 4 h 102"/>
                <a:gd name="T20" fmla="*/ 7 w 30"/>
                <a:gd name="T21" fmla="*/ 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102">
                  <a:moveTo>
                    <a:pt x="7" y="3"/>
                  </a:moveTo>
                  <a:cubicBezTo>
                    <a:pt x="5" y="5"/>
                    <a:pt x="5" y="4"/>
                    <a:pt x="3" y="7"/>
                  </a:cubicBezTo>
                  <a:cubicBezTo>
                    <a:pt x="0" y="9"/>
                    <a:pt x="3" y="13"/>
                    <a:pt x="3" y="13"/>
                  </a:cubicBezTo>
                  <a:cubicBezTo>
                    <a:pt x="3" y="13"/>
                    <a:pt x="18" y="28"/>
                    <a:pt x="18" y="51"/>
                  </a:cubicBezTo>
                  <a:cubicBezTo>
                    <a:pt x="18" y="77"/>
                    <a:pt x="5" y="88"/>
                    <a:pt x="3" y="91"/>
                  </a:cubicBezTo>
                  <a:cubicBezTo>
                    <a:pt x="1" y="93"/>
                    <a:pt x="2" y="95"/>
                    <a:pt x="2" y="95"/>
                  </a:cubicBezTo>
                  <a:cubicBezTo>
                    <a:pt x="2" y="95"/>
                    <a:pt x="4" y="99"/>
                    <a:pt x="7" y="101"/>
                  </a:cubicBezTo>
                  <a:cubicBezTo>
                    <a:pt x="10" y="102"/>
                    <a:pt x="12" y="100"/>
                    <a:pt x="12" y="100"/>
                  </a:cubicBezTo>
                  <a:cubicBezTo>
                    <a:pt x="12" y="100"/>
                    <a:pt x="30" y="82"/>
                    <a:pt x="30" y="49"/>
                  </a:cubicBezTo>
                  <a:cubicBezTo>
                    <a:pt x="30" y="24"/>
                    <a:pt x="12" y="4"/>
                    <a:pt x="12" y="4"/>
                  </a:cubicBezTo>
                  <a:cubicBezTo>
                    <a:pt x="12" y="4"/>
                    <a:pt x="10" y="0"/>
                    <a:pt x="7" y="3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Freeform 92">
              <a:extLst>
                <a:ext uri="{FF2B5EF4-FFF2-40B4-BE49-F238E27FC236}">
                  <a16:creationId xmlns:a16="http://schemas.microsoft.com/office/drawing/2014/main" id="{C29CB992-0C7D-4DFB-9FA5-B0CCE03226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1375" y="3278188"/>
              <a:ext cx="138113" cy="258763"/>
            </a:xfrm>
            <a:custGeom>
              <a:avLst/>
              <a:gdLst>
                <a:gd name="T0" fmla="*/ 6 w 37"/>
                <a:gd name="T1" fmla="*/ 2 h 69"/>
                <a:gd name="T2" fmla="*/ 1 w 37"/>
                <a:gd name="T3" fmla="*/ 6 h 69"/>
                <a:gd name="T4" fmla="*/ 1 w 37"/>
                <a:gd name="T5" fmla="*/ 11 h 69"/>
                <a:gd name="T6" fmla="*/ 1 w 37"/>
                <a:gd name="T7" fmla="*/ 58 h 69"/>
                <a:gd name="T8" fmla="*/ 1 w 37"/>
                <a:gd name="T9" fmla="*/ 64 h 69"/>
                <a:gd name="T10" fmla="*/ 6 w 37"/>
                <a:gd name="T11" fmla="*/ 68 h 69"/>
                <a:gd name="T12" fmla="*/ 11 w 37"/>
                <a:gd name="T13" fmla="*/ 67 h 69"/>
                <a:gd name="T14" fmla="*/ 11 w 37"/>
                <a:gd name="T15" fmla="*/ 3 h 69"/>
                <a:gd name="T16" fmla="*/ 6 w 37"/>
                <a:gd name="T17" fmla="*/ 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69">
                  <a:moveTo>
                    <a:pt x="6" y="2"/>
                  </a:moveTo>
                  <a:cubicBezTo>
                    <a:pt x="3" y="3"/>
                    <a:pt x="2" y="5"/>
                    <a:pt x="1" y="6"/>
                  </a:cubicBezTo>
                  <a:cubicBezTo>
                    <a:pt x="0" y="8"/>
                    <a:pt x="1" y="11"/>
                    <a:pt x="1" y="11"/>
                  </a:cubicBezTo>
                  <a:cubicBezTo>
                    <a:pt x="1" y="11"/>
                    <a:pt x="20" y="33"/>
                    <a:pt x="1" y="58"/>
                  </a:cubicBezTo>
                  <a:cubicBezTo>
                    <a:pt x="0" y="60"/>
                    <a:pt x="0" y="62"/>
                    <a:pt x="1" y="64"/>
                  </a:cubicBezTo>
                  <a:cubicBezTo>
                    <a:pt x="3" y="65"/>
                    <a:pt x="5" y="67"/>
                    <a:pt x="6" y="68"/>
                  </a:cubicBezTo>
                  <a:cubicBezTo>
                    <a:pt x="7" y="69"/>
                    <a:pt x="9" y="69"/>
                    <a:pt x="11" y="67"/>
                  </a:cubicBezTo>
                  <a:cubicBezTo>
                    <a:pt x="13" y="65"/>
                    <a:pt x="37" y="34"/>
                    <a:pt x="11" y="3"/>
                  </a:cubicBezTo>
                  <a:cubicBezTo>
                    <a:pt x="10" y="1"/>
                    <a:pt x="8" y="0"/>
                    <a:pt x="6" y="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5" name="Group 12499">
            <a:extLst>
              <a:ext uri="{FF2B5EF4-FFF2-40B4-BE49-F238E27FC236}">
                <a16:creationId xmlns:a16="http://schemas.microsoft.com/office/drawing/2014/main" id="{4B12E3EE-16A3-4E11-B71E-F29A95D6BB14}"/>
              </a:ext>
            </a:extLst>
          </p:cNvPr>
          <p:cNvGrpSpPr/>
          <p:nvPr userDrawn="1"/>
        </p:nvGrpSpPr>
        <p:grpSpPr>
          <a:xfrm>
            <a:off x="5327392" y="2845099"/>
            <a:ext cx="316977" cy="324968"/>
            <a:chOff x="5487988" y="3251200"/>
            <a:chExt cx="377825" cy="387350"/>
          </a:xfrm>
        </p:grpSpPr>
        <p:sp>
          <p:nvSpPr>
            <p:cNvPr id="116" name="Oval 93">
              <a:extLst>
                <a:ext uri="{FF2B5EF4-FFF2-40B4-BE49-F238E27FC236}">
                  <a16:creationId xmlns:a16="http://schemas.microsoft.com/office/drawing/2014/main" id="{94616673-9C07-4AB8-97D9-B4A953880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1163" y="3495675"/>
              <a:ext cx="123825" cy="123825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Freeform 94">
              <a:extLst>
                <a:ext uri="{FF2B5EF4-FFF2-40B4-BE49-F238E27FC236}">
                  <a16:creationId xmlns:a16="http://schemas.microsoft.com/office/drawing/2014/main" id="{161101B4-B2A9-40BB-AC72-52B49E874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7988" y="3251200"/>
              <a:ext cx="377825" cy="387350"/>
            </a:xfrm>
            <a:custGeom>
              <a:avLst/>
              <a:gdLst>
                <a:gd name="T0" fmla="*/ 90 w 101"/>
                <a:gd name="T1" fmla="*/ 103 h 103"/>
                <a:gd name="T2" fmla="*/ 89 w 101"/>
                <a:gd name="T3" fmla="*/ 103 h 103"/>
                <a:gd name="T4" fmla="*/ 82 w 101"/>
                <a:gd name="T5" fmla="*/ 95 h 103"/>
                <a:gd name="T6" fmla="*/ 8 w 101"/>
                <a:gd name="T7" fmla="*/ 16 h 103"/>
                <a:gd name="T8" fmla="*/ 1 w 101"/>
                <a:gd name="T9" fmla="*/ 8 h 103"/>
                <a:gd name="T10" fmla="*/ 9 w 101"/>
                <a:gd name="T11" fmla="*/ 1 h 103"/>
                <a:gd name="T12" fmla="*/ 98 w 101"/>
                <a:gd name="T13" fmla="*/ 95 h 103"/>
                <a:gd name="T14" fmla="*/ 90 w 101"/>
                <a:gd name="T15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103">
                  <a:moveTo>
                    <a:pt x="90" y="103"/>
                  </a:moveTo>
                  <a:cubicBezTo>
                    <a:pt x="90" y="103"/>
                    <a:pt x="90" y="103"/>
                    <a:pt x="89" y="103"/>
                  </a:cubicBezTo>
                  <a:cubicBezTo>
                    <a:pt x="85" y="103"/>
                    <a:pt x="82" y="99"/>
                    <a:pt x="82" y="95"/>
                  </a:cubicBezTo>
                  <a:cubicBezTo>
                    <a:pt x="82" y="92"/>
                    <a:pt x="84" y="23"/>
                    <a:pt x="8" y="16"/>
                  </a:cubicBezTo>
                  <a:cubicBezTo>
                    <a:pt x="4" y="16"/>
                    <a:pt x="0" y="12"/>
                    <a:pt x="1" y="8"/>
                  </a:cubicBezTo>
                  <a:cubicBezTo>
                    <a:pt x="1" y="3"/>
                    <a:pt x="5" y="0"/>
                    <a:pt x="9" y="1"/>
                  </a:cubicBezTo>
                  <a:cubicBezTo>
                    <a:pt x="101" y="8"/>
                    <a:pt x="98" y="95"/>
                    <a:pt x="98" y="95"/>
                  </a:cubicBezTo>
                  <a:cubicBezTo>
                    <a:pt x="98" y="100"/>
                    <a:pt x="94" y="103"/>
                    <a:pt x="90" y="103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Freeform 95">
              <a:extLst>
                <a:ext uri="{FF2B5EF4-FFF2-40B4-BE49-F238E27FC236}">
                  <a16:creationId xmlns:a16="http://schemas.microsoft.com/office/drawing/2014/main" id="{C11399B0-7E4F-45C7-81EB-33D5B7AC9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7988" y="3368675"/>
              <a:ext cx="254000" cy="258763"/>
            </a:xfrm>
            <a:custGeom>
              <a:avLst/>
              <a:gdLst>
                <a:gd name="T0" fmla="*/ 58 w 68"/>
                <a:gd name="T1" fmla="*/ 69 h 69"/>
                <a:gd name="T2" fmla="*/ 58 w 68"/>
                <a:gd name="T3" fmla="*/ 69 h 69"/>
                <a:gd name="T4" fmla="*/ 50 w 68"/>
                <a:gd name="T5" fmla="*/ 60 h 69"/>
                <a:gd name="T6" fmla="*/ 8 w 68"/>
                <a:gd name="T7" fmla="*/ 16 h 69"/>
                <a:gd name="T8" fmla="*/ 1 w 68"/>
                <a:gd name="T9" fmla="*/ 7 h 69"/>
                <a:gd name="T10" fmla="*/ 9 w 68"/>
                <a:gd name="T11" fmla="*/ 0 h 69"/>
                <a:gd name="T12" fmla="*/ 66 w 68"/>
                <a:gd name="T13" fmla="*/ 61 h 69"/>
                <a:gd name="T14" fmla="*/ 58 w 68"/>
                <a:gd name="T15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69">
                  <a:moveTo>
                    <a:pt x="58" y="69"/>
                  </a:moveTo>
                  <a:cubicBezTo>
                    <a:pt x="58" y="69"/>
                    <a:pt x="58" y="69"/>
                    <a:pt x="58" y="69"/>
                  </a:cubicBezTo>
                  <a:cubicBezTo>
                    <a:pt x="54" y="68"/>
                    <a:pt x="50" y="65"/>
                    <a:pt x="50" y="60"/>
                  </a:cubicBezTo>
                  <a:cubicBezTo>
                    <a:pt x="51" y="56"/>
                    <a:pt x="50" y="19"/>
                    <a:pt x="8" y="16"/>
                  </a:cubicBezTo>
                  <a:cubicBezTo>
                    <a:pt x="4" y="16"/>
                    <a:pt x="0" y="12"/>
                    <a:pt x="1" y="7"/>
                  </a:cubicBezTo>
                  <a:cubicBezTo>
                    <a:pt x="1" y="3"/>
                    <a:pt x="5" y="0"/>
                    <a:pt x="9" y="0"/>
                  </a:cubicBezTo>
                  <a:cubicBezTo>
                    <a:pt x="68" y="4"/>
                    <a:pt x="66" y="60"/>
                    <a:pt x="66" y="61"/>
                  </a:cubicBezTo>
                  <a:cubicBezTo>
                    <a:pt x="66" y="65"/>
                    <a:pt x="63" y="69"/>
                    <a:pt x="58" y="6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9" name="Group 12498">
            <a:extLst>
              <a:ext uri="{FF2B5EF4-FFF2-40B4-BE49-F238E27FC236}">
                <a16:creationId xmlns:a16="http://schemas.microsoft.com/office/drawing/2014/main" id="{4460207D-0DA7-4C6D-8B82-D6FF3E2D3704}"/>
              </a:ext>
            </a:extLst>
          </p:cNvPr>
          <p:cNvGrpSpPr/>
          <p:nvPr userDrawn="1"/>
        </p:nvGrpSpPr>
        <p:grpSpPr>
          <a:xfrm>
            <a:off x="6254461" y="2805281"/>
            <a:ext cx="298331" cy="423524"/>
            <a:chOff x="6553200" y="3170238"/>
            <a:chExt cx="355600" cy="504825"/>
          </a:xfrm>
        </p:grpSpPr>
        <p:sp>
          <p:nvSpPr>
            <p:cNvPr id="120" name="Freeform 96">
              <a:extLst>
                <a:ext uri="{FF2B5EF4-FFF2-40B4-BE49-F238E27FC236}">
                  <a16:creationId xmlns:a16="http://schemas.microsoft.com/office/drawing/2014/main" id="{C72180D5-2045-4B7B-B279-3AC104D33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3200" y="3170238"/>
              <a:ext cx="355600" cy="261938"/>
            </a:xfrm>
            <a:custGeom>
              <a:avLst/>
              <a:gdLst>
                <a:gd name="T0" fmla="*/ 3 w 95"/>
                <a:gd name="T1" fmla="*/ 54 h 70"/>
                <a:gd name="T2" fmla="*/ 48 w 95"/>
                <a:gd name="T3" fmla="*/ 10 h 70"/>
                <a:gd name="T4" fmla="*/ 92 w 95"/>
                <a:gd name="T5" fmla="*/ 54 h 70"/>
                <a:gd name="T6" fmla="*/ 89 w 95"/>
                <a:gd name="T7" fmla="*/ 70 h 70"/>
                <a:gd name="T8" fmla="*/ 95 w 95"/>
                <a:gd name="T9" fmla="*/ 47 h 70"/>
                <a:gd name="T10" fmla="*/ 48 w 95"/>
                <a:gd name="T11" fmla="*/ 0 h 70"/>
                <a:gd name="T12" fmla="*/ 0 w 95"/>
                <a:gd name="T13" fmla="*/ 47 h 70"/>
                <a:gd name="T14" fmla="*/ 6 w 95"/>
                <a:gd name="T15" fmla="*/ 70 h 70"/>
                <a:gd name="T16" fmla="*/ 3 w 95"/>
                <a:gd name="T17" fmla="*/ 5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5" h="70">
                  <a:moveTo>
                    <a:pt x="3" y="54"/>
                  </a:moveTo>
                  <a:cubicBezTo>
                    <a:pt x="3" y="30"/>
                    <a:pt x="23" y="10"/>
                    <a:pt x="48" y="10"/>
                  </a:cubicBezTo>
                  <a:cubicBezTo>
                    <a:pt x="72" y="10"/>
                    <a:pt x="92" y="30"/>
                    <a:pt x="92" y="54"/>
                  </a:cubicBezTo>
                  <a:cubicBezTo>
                    <a:pt x="92" y="60"/>
                    <a:pt x="91" y="65"/>
                    <a:pt x="89" y="70"/>
                  </a:cubicBezTo>
                  <a:cubicBezTo>
                    <a:pt x="93" y="63"/>
                    <a:pt x="95" y="55"/>
                    <a:pt x="95" y="47"/>
                  </a:cubicBezTo>
                  <a:cubicBezTo>
                    <a:pt x="95" y="21"/>
                    <a:pt x="74" y="0"/>
                    <a:pt x="48" y="0"/>
                  </a:cubicBezTo>
                  <a:cubicBezTo>
                    <a:pt x="22" y="0"/>
                    <a:pt x="0" y="21"/>
                    <a:pt x="0" y="47"/>
                  </a:cubicBezTo>
                  <a:cubicBezTo>
                    <a:pt x="0" y="55"/>
                    <a:pt x="2" y="63"/>
                    <a:pt x="6" y="70"/>
                  </a:cubicBezTo>
                  <a:cubicBezTo>
                    <a:pt x="4" y="65"/>
                    <a:pt x="3" y="60"/>
                    <a:pt x="3" y="54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1" name="Freeform 97">
              <a:extLst>
                <a:ext uri="{FF2B5EF4-FFF2-40B4-BE49-F238E27FC236}">
                  <a16:creationId xmlns:a16="http://schemas.microsoft.com/office/drawing/2014/main" id="{C23A19CE-E45D-4FA2-9301-AE0B7306D2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4638" y="3240088"/>
              <a:ext cx="217488" cy="158750"/>
            </a:xfrm>
            <a:custGeom>
              <a:avLst/>
              <a:gdLst>
                <a:gd name="T0" fmla="*/ 2 w 58"/>
                <a:gd name="T1" fmla="*/ 36 h 42"/>
                <a:gd name="T2" fmla="*/ 29 w 58"/>
                <a:gd name="T3" fmla="*/ 9 h 42"/>
                <a:gd name="T4" fmla="*/ 55 w 58"/>
                <a:gd name="T5" fmla="*/ 36 h 42"/>
                <a:gd name="T6" fmla="*/ 55 w 58"/>
                <a:gd name="T7" fmla="*/ 42 h 42"/>
                <a:gd name="T8" fmla="*/ 58 w 58"/>
                <a:gd name="T9" fmla="*/ 29 h 42"/>
                <a:gd name="T10" fmla="*/ 29 w 58"/>
                <a:gd name="T11" fmla="*/ 0 h 42"/>
                <a:gd name="T12" fmla="*/ 0 w 58"/>
                <a:gd name="T13" fmla="*/ 29 h 42"/>
                <a:gd name="T14" fmla="*/ 3 w 58"/>
                <a:gd name="T15" fmla="*/ 42 h 42"/>
                <a:gd name="T16" fmla="*/ 2 w 58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42">
                  <a:moveTo>
                    <a:pt x="2" y="36"/>
                  </a:moveTo>
                  <a:cubicBezTo>
                    <a:pt x="2" y="21"/>
                    <a:pt x="14" y="9"/>
                    <a:pt x="29" y="9"/>
                  </a:cubicBezTo>
                  <a:cubicBezTo>
                    <a:pt x="43" y="9"/>
                    <a:pt x="55" y="21"/>
                    <a:pt x="55" y="36"/>
                  </a:cubicBezTo>
                  <a:cubicBezTo>
                    <a:pt x="55" y="38"/>
                    <a:pt x="55" y="40"/>
                    <a:pt x="55" y="42"/>
                  </a:cubicBezTo>
                  <a:cubicBezTo>
                    <a:pt x="57" y="38"/>
                    <a:pt x="58" y="33"/>
                    <a:pt x="58" y="29"/>
                  </a:cubicBezTo>
                  <a:cubicBezTo>
                    <a:pt x="58" y="13"/>
                    <a:pt x="45" y="0"/>
                    <a:pt x="29" y="0"/>
                  </a:cubicBezTo>
                  <a:cubicBezTo>
                    <a:pt x="13" y="0"/>
                    <a:pt x="0" y="13"/>
                    <a:pt x="0" y="29"/>
                  </a:cubicBezTo>
                  <a:cubicBezTo>
                    <a:pt x="0" y="33"/>
                    <a:pt x="1" y="38"/>
                    <a:pt x="3" y="42"/>
                  </a:cubicBezTo>
                  <a:cubicBezTo>
                    <a:pt x="2" y="40"/>
                    <a:pt x="2" y="38"/>
                    <a:pt x="2" y="36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Freeform 98">
              <a:extLst>
                <a:ext uri="{FF2B5EF4-FFF2-40B4-BE49-F238E27FC236}">
                  <a16:creationId xmlns:a16="http://schemas.microsoft.com/office/drawing/2014/main" id="{00396B5A-72FA-415B-A281-922590E24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6700" y="3322638"/>
              <a:ext cx="228600" cy="352425"/>
            </a:xfrm>
            <a:custGeom>
              <a:avLst/>
              <a:gdLst>
                <a:gd name="T0" fmla="*/ 0 w 61"/>
                <a:gd name="T1" fmla="*/ 94 h 94"/>
                <a:gd name="T2" fmla="*/ 12 w 61"/>
                <a:gd name="T3" fmla="*/ 94 h 94"/>
                <a:gd name="T4" fmla="*/ 12 w 61"/>
                <a:gd name="T5" fmla="*/ 94 h 94"/>
                <a:gd name="T6" fmla="*/ 31 w 61"/>
                <a:gd name="T7" fmla="*/ 81 h 94"/>
                <a:gd name="T8" fmla="*/ 49 w 61"/>
                <a:gd name="T9" fmla="*/ 94 h 94"/>
                <a:gd name="T10" fmla="*/ 49 w 61"/>
                <a:gd name="T11" fmla="*/ 94 h 94"/>
                <a:gd name="T12" fmla="*/ 61 w 61"/>
                <a:gd name="T13" fmla="*/ 94 h 94"/>
                <a:gd name="T14" fmla="*/ 38 w 61"/>
                <a:gd name="T15" fmla="*/ 28 h 94"/>
                <a:gd name="T16" fmla="*/ 38 w 61"/>
                <a:gd name="T17" fmla="*/ 23 h 94"/>
                <a:gd name="T18" fmla="*/ 44 w 61"/>
                <a:gd name="T19" fmla="*/ 13 h 94"/>
                <a:gd name="T20" fmla="*/ 31 w 61"/>
                <a:gd name="T21" fmla="*/ 0 h 94"/>
                <a:gd name="T22" fmla="*/ 18 w 61"/>
                <a:gd name="T23" fmla="*/ 13 h 94"/>
                <a:gd name="T24" fmla="*/ 23 w 61"/>
                <a:gd name="T25" fmla="*/ 23 h 94"/>
                <a:gd name="T26" fmla="*/ 23 w 61"/>
                <a:gd name="T27" fmla="*/ 28 h 94"/>
                <a:gd name="T28" fmla="*/ 0 w 61"/>
                <a:gd name="T29" fmla="*/ 94 h 94"/>
                <a:gd name="T30" fmla="*/ 30 w 61"/>
                <a:gd name="T31" fmla="*/ 41 h 94"/>
                <a:gd name="T32" fmla="*/ 35 w 61"/>
                <a:gd name="T33" fmla="*/ 54 h 94"/>
                <a:gd name="T34" fmla="*/ 26 w 61"/>
                <a:gd name="T35" fmla="*/ 54 h 94"/>
                <a:gd name="T36" fmla="*/ 30 w 61"/>
                <a:gd name="T37" fmla="*/ 41 h 94"/>
                <a:gd name="T38" fmla="*/ 39 w 61"/>
                <a:gd name="T39" fmla="*/ 64 h 94"/>
                <a:gd name="T40" fmla="*/ 42 w 61"/>
                <a:gd name="T41" fmla="*/ 72 h 94"/>
                <a:gd name="T42" fmla="*/ 20 w 61"/>
                <a:gd name="T43" fmla="*/ 72 h 94"/>
                <a:gd name="T44" fmla="*/ 23 w 61"/>
                <a:gd name="T45" fmla="*/ 64 h 94"/>
                <a:gd name="T46" fmla="*/ 39 w 61"/>
                <a:gd name="T47" fmla="*/ 6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1" h="94">
                  <a:moveTo>
                    <a:pt x="0" y="94"/>
                  </a:moveTo>
                  <a:cubicBezTo>
                    <a:pt x="12" y="94"/>
                    <a:pt x="12" y="94"/>
                    <a:pt x="12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5" y="86"/>
                    <a:pt x="22" y="81"/>
                    <a:pt x="31" y="81"/>
                  </a:cubicBezTo>
                  <a:cubicBezTo>
                    <a:pt x="39" y="81"/>
                    <a:pt x="46" y="86"/>
                    <a:pt x="49" y="94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1" y="21"/>
                    <a:pt x="44" y="17"/>
                    <a:pt x="44" y="13"/>
                  </a:cubicBezTo>
                  <a:cubicBezTo>
                    <a:pt x="44" y="5"/>
                    <a:pt x="38" y="0"/>
                    <a:pt x="31" y="0"/>
                  </a:cubicBezTo>
                  <a:cubicBezTo>
                    <a:pt x="24" y="0"/>
                    <a:pt x="18" y="5"/>
                    <a:pt x="18" y="13"/>
                  </a:cubicBezTo>
                  <a:cubicBezTo>
                    <a:pt x="18" y="17"/>
                    <a:pt x="20" y="21"/>
                    <a:pt x="23" y="23"/>
                  </a:cubicBezTo>
                  <a:cubicBezTo>
                    <a:pt x="23" y="28"/>
                    <a:pt x="23" y="28"/>
                    <a:pt x="23" y="28"/>
                  </a:cubicBezTo>
                  <a:lnTo>
                    <a:pt x="0" y="94"/>
                  </a:lnTo>
                  <a:close/>
                  <a:moveTo>
                    <a:pt x="30" y="41"/>
                  </a:moveTo>
                  <a:cubicBezTo>
                    <a:pt x="35" y="54"/>
                    <a:pt x="35" y="54"/>
                    <a:pt x="35" y="54"/>
                  </a:cubicBezTo>
                  <a:cubicBezTo>
                    <a:pt x="26" y="54"/>
                    <a:pt x="26" y="54"/>
                    <a:pt x="26" y="54"/>
                  </a:cubicBezTo>
                  <a:lnTo>
                    <a:pt x="30" y="41"/>
                  </a:lnTo>
                  <a:close/>
                  <a:moveTo>
                    <a:pt x="39" y="64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3" y="64"/>
                    <a:pt x="23" y="64"/>
                    <a:pt x="23" y="64"/>
                  </a:cubicBezTo>
                  <a:lnTo>
                    <a:pt x="39" y="64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3" name="Group 12495">
            <a:extLst>
              <a:ext uri="{FF2B5EF4-FFF2-40B4-BE49-F238E27FC236}">
                <a16:creationId xmlns:a16="http://schemas.microsoft.com/office/drawing/2014/main" id="{4101EAE5-B66F-4E36-874C-627E0C012DF8}"/>
              </a:ext>
            </a:extLst>
          </p:cNvPr>
          <p:cNvGrpSpPr/>
          <p:nvPr userDrawn="1"/>
        </p:nvGrpSpPr>
        <p:grpSpPr>
          <a:xfrm>
            <a:off x="7092748" y="2804743"/>
            <a:ext cx="499439" cy="424856"/>
            <a:chOff x="7535863" y="3187700"/>
            <a:chExt cx="595313" cy="506413"/>
          </a:xfrm>
        </p:grpSpPr>
        <p:sp>
          <p:nvSpPr>
            <p:cNvPr id="124" name="Freeform 99">
              <a:extLst>
                <a:ext uri="{FF2B5EF4-FFF2-40B4-BE49-F238E27FC236}">
                  <a16:creationId xmlns:a16="http://schemas.microsoft.com/office/drawing/2014/main" id="{DC3AB511-6ACD-423C-842A-AFB2EBAC28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00963" y="3292475"/>
              <a:ext cx="261938" cy="401638"/>
            </a:xfrm>
            <a:custGeom>
              <a:avLst/>
              <a:gdLst>
                <a:gd name="T0" fmla="*/ 0 w 70"/>
                <a:gd name="T1" fmla="*/ 107 h 107"/>
                <a:gd name="T2" fmla="*/ 14 w 70"/>
                <a:gd name="T3" fmla="*/ 107 h 107"/>
                <a:gd name="T4" fmla="*/ 14 w 70"/>
                <a:gd name="T5" fmla="*/ 107 h 107"/>
                <a:gd name="T6" fmla="*/ 35 w 70"/>
                <a:gd name="T7" fmla="*/ 93 h 107"/>
                <a:gd name="T8" fmla="*/ 56 w 70"/>
                <a:gd name="T9" fmla="*/ 107 h 107"/>
                <a:gd name="T10" fmla="*/ 56 w 70"/>
                <a:gd name="T11" fmla="*/ 107 h 107"/>
                <a:gd name="T12" fmla="*/ 70 w 70"/>
                <a:gd name="T13" fmla="*/ 107 h 107"/>
                <a:gd name="T14" fmla="*/ 44 w 70"/>
                <a:gd name="T15" fmla="*/ 32 h 107"/>
                <a:gd name="T16" fmla="*/ 44 w 70"/>
                <a:gd name="T17" fmla="*/ 27 h 107"/>
                <a:gd name="T18" fmla="*/ 50 w 70"/>
                <a:gd name="T19" fmla="*/ 15 h 107"/>
                <a:gd name="T20" fmla="*/ 35 w 70"/>
                <a:gd name="T21" fmla="*/ 0 h 107"/>
                <a:gd name="T22" fmla="*/ 20 w 70"/>
                <a:gd name="T23" fmla="*/ 15 h 107"/>
                <a:gd name="T24" fmla="*/ 27 w 70"/>
                <a:gd name="T25" fmla="*/ 27 h 107"/>
                <a:gd name="T26" fmla="*/ 27 w 70"/>
                <a:gd name="T27" fmla="*/ 32 h 107"/>
                <a:gd name="T28" fmla="*/ 0 w 70"/>
                <a:gd name="T29" fmla="*/ 107 h 107"/>
                <a:gd name="T30" fmla="*/ 35 w 70"/>
                <a:gd name="T31" fmla="*/ 48 h 107"/>
                <a:gd name="T32" fmla="*/ 40 w 70"/>
                <a:gd name="T33" fmla="*/ 62 h 107"/>
                <a:gd name="T34" fmla="*/ 30 w 70"/>
                <a:gd name="T35" fmla="*/ 62 h 107"/>
                <a:gd name="T36" fmla="*/ 35 w 70"/>
                <a:gd name="T37" fmla="*/ 48 h 107"/>
                <a:gd name="T38" fmla="*/ 44 w 70"/>
                <a:gd name="T39" fmla="*/ 73 h 107"/>
                <a:gd name="T40" fmla="*/ 48 w 70"/>
                <a:gd name="T41" fmla="*/ 82 h 107"/>
                <a:gd name="T42" fmla="*/ 23 w 70"/>
                <a:gd name="T43" fmla="*/ 82 h 107"/>
                <a:gd name="T44" fmla="*/ 26 w 70"/>
                <a:gd name="T45" fmla="*/ 73 h 107"/>
                <a:gd name="T46" fmla="*/ 44 w 70"/>
                <a:gd name="T47" fmla="*/ 7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107">
                  <a:moveTo>
                    <a:pt x="0" y="107"/>
                  </a:move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7" y="98"/>
                    <a:pt x="25" y="93"/>
                    <a:pt x="35" y="93"/>
                  </a:cubicBezTo>
                  <a:cubicBezTo>
                    <a:pt x="45" y="93"/>
                    <a:pt x="53" y="98"/>
                    <a:pt x="56" y="107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8" y="24"/>
                    <a:pt x="50" y="20"/>
                    <a:pt x="50" y="15"/>
                  </a:cubicBezTo>
                  <a:cubicBezTo>
                    <a:pt x="50" y="7"/>
                    <a:pt x="43" y="0"/>
                    <a:pt x="35" y="0"/>
                  </a:cubicBezTo>
                  <a:cubicBezTo>
                    <a:pt x="27" y="0"/>
                    <a:pt x="20" y="7"/>
                    <a:pt x="20" y="15"/>
                  </a:cubicBezTo>
                  <a:cubicBezTo>
                    <a:pt x="20" y="20"/>
                    <a:pt x="23" y="24"/>
                    <a:pt x="27" y="27"/>
                  </a:cubicBezTo>
                  <a:cubicBezTo>
                    <a:pt x="27" y="32"/>
                    <a:pt x="27" y="32"/>
                    <a:pt x="27" y="32"/>
                  </a:cubicBezTo>
                  <a:lnTo>
                    <a:pt x="0" y="107"/>
                  </a:lnTo>
                  <a:close/>
                  <a:moveTo>
                    <a:pt x="35" y="48"/>
                  </a:moveTo>
                  <a:cubicBezTo>
                    <a:pt x="40" y="62"/>
                    <a:pt x="40" y="62"/>
                    <a:pt x="40" y="62"/>
                  </a:cubicBezTo>
                  <a:cubicBezTo>
                    <a:pt x="30" y="62"/>
                    <a:pt x="30" y="62"/>
                    <a:pt x="30" y="62"/>
                  </a:cubicBezTo>
                  <a:lnTo>
                    <a:pt x="35" y="48"/>
                  </a:lnTo>
                  <a:close/>
                  <a:moveTo>
                    <a:pt x="44" y="73"/>
                  </a:moveTo>
                  <a:cubicBezTo>
                    <a:pt x="48" y="82"/>
                    <a:pt x="48" y="82"/>
                    <a:pt x="48" y="82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26" y="73"/>
                    <a:pt x="26" y="73"/>
                    <a:pt x="26" y="73"/>
                  </a:cubicBezTo>
                  <a:lnTo>
                    <a:pt x="44" y="73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Freeform 100">
              <a:extLst>
                <a:ext uri="{FF2B5EF4-FFF2-40B4-BE49-F238E27FC236}">
                  <a16:creationId xmlns:a16="http://schemas.microsoft.com/office/drawing/2014/main" id="{E682358D-E8F4-4CA5-8B19-664462128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4925" y="3251200"/>
              <a:ext cx="104775" cy="195263"/>
            </a:xfrm>
            <a:custGeom>
              <a:avLst/>
              <a:gdLst>
                <a:gd name="T0" fmla="*/ 18 w 28"/>
                <a:gd name="T1" fmla="*/ 52 h 52"/>
                <a:gd name="T2" fmla="*/ 18 w 28"/>
                <a:gd name="T3" fmla="*/ 0 h 52"/>
                <a:gd name="T4" fmla="*/ 28 w 28"/>
                <a:gd name="T5" fmla="*/ 8 h 52"/>
                <a:gd name="T6" fmla="*/ 28 w 28"/>
                <a:gd name="T7" fmla="*/ 43 h 52"/>
                <a:gd name="T8" fmla="*/ 18 w 28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52">
                  <a:moveTo>
                    <a:pt x="18" y="52"/>
                  </a:moveTo>
                  <a:cubicBezTo>
                    <a:pt x="10" y="43"/>
                    <a:pt x="0" y="21"/>
                    <a:pt x="18" y="0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13" y="26"/>
                    <a:pt x="27" y="42"/>
                    <a:pt x="28" y="43"/>
                  </a:cubicBezTo>
                  <a:lnTo>
                    <a:pt x="18" y="52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Freeform 101">
              <a:extLst>
                <a:ext uri="{FF2B5EF4-FFF2-40B4-BE49-F238E27FC236}">
                  <a16:creationId xmlns:a16="http://schemas.microsoft.com/office/drawing/2014/main" id="{803C260A-BD69-4084-95D7-A323F9393F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3" y="3187700"/>
              <a:ext cx="157163" cy="319088"/>
            </a:xfrm>
            <a:custGeom>
              <a:avLst/>
              <a:gdLst>
                <a:gd name="T0" fmla="*/ 33 w 42"/>
                <a:gd name="T1" fmla="*/ 85 h 85"/>
                <a:gd name="T2" fmla="*/ 33 w 42"/>
                <a:gd name="T3" fmla="*/ 0 h 85"/>
                <a:gd name="T4" fmla="*/ 42 w 42"/>
                <a:gd name="T5" fmla="*/ 9 h 85"/>
                <a:gd name="T6" fmla="*/ 42 w 42"/>
                <a:gd name="T7" fmla="*/ 76 h 85"/>
                <a:gd name="T8" fmla="*/ 33 w 42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85">
                  <a:moveTo>
                    <a:pt x="33" y="85"/>
                  </a:moveTo>
                  <a:cubicBezTo>
                    <a:pt x="0" y="51"/>
                    <a:pt x="22" y="11"/>
                    <a:pt x="33" y="0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2" y="9"/>
                    <a:pt x="12" y="45"/>
                    <a:pt x="42" y="76"/>
                  </a:cubicBezTo>
                  <a:lnTo>
                    <a:pt x="33" y="85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7" name="Freeform 102">
              <a:extLst>
                <a:ext uri="{FF2B5EF4-FFF2-40B4-BE49-F238E27FC236}">
                  <a16:creationId xmlns:a16="http://schemas.microsoft.com/office/drawing/2014/main" id="{3227B8BB-FBE9-4414-8832-291981DB96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5750" y="3251200"/>
              <a:ext cx="101600" cy="195263"/>
            </a:xfrm>
            <a:custGeom>
              <a:avLst/>
              <a:gdLst>
                <a:gd name="T0" fmla="*/ 10 w 27"/>
                <a:gd name="T1" fmla="*/ 52 h 52"/>
                <a:gd name="T2" fmla="*/ 10 w 27"/>
                <a:gd name="T3" fmla="*/ 0 h 52"/>
                <a:gd name="T4" fmla="*/ 0 w 27"/>
                <a:gd name="T5" fmla="*/ 8 h 52"/>
                <a:gd name="T6" fmla="*/ 0 w 27"/>
                <a:gd name="T7" fmla="*/ 43 h 52"/>
                <a:gd name="T8" fmla="*/ 10 w 27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2">
                  <a:moveTo>
                    <a:pt x="10" y="52"/>
                  </a:moveTo>
                  <a:cubicBezTo>
                    <a:pt x="17" y="43"/>
                    <a:pt x="27" y="21"/>
                    <a:pt x="10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5" y="26"/>
                    <a:pt x="1" y="42"/>
                    <a:pt x="0" y="43"/>
                  </a:cubicBezTo>
                  <a:lnTo>
                    <a:pt x="10" y="52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Freeform 103">
              <a:extLst>
                <a:ext uri="{FF2B5EF4-FFF2-40B4-BE49-F238E27FC236}">
                  <a16:creationId xmlns:a16="http://schemas.microsoft.com/office/drawing/2014/main" id="{13F04C3B-2B74-4F7B-9952-AF18ED521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0838" y="3187700"/>
              <a:ext cx="160338" cy="319088"/>
            </a:xfrm>
            <a:custGeom>
              <a:avLst/>
              <a:gdLst>
                <a:gd name="T0" fmla="*/ 9 w 43"/>
                <a:gd name="T1" fmla="*/ 85 h 85"/>
                <a:gd name="T2" fmla="*/ 10 w 43"/>
                <a:gd name="T3" fmla="*/ 0 h 85"/>
                <a:gd name="T4" fmla="*/ 0 w 43"/>
                <a:gd name="T5" fmla="*/ 9 h 85"/>
                <a:gd name="T6" fmla="*/ 0 w 43"/>
                <a:gd name="T7" fmla="*/ 76 h 85"/>
                <a:gd name="T8" fmla="*/ 9 w 43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85">
                  <a:moveTo>
                    <a:pt x="9" y="85"/>
                  </a:moveTo>
                  <a:cubicBezTo>
                    <a:pt x="43" y="51"/>
                    <a:pt x="20" y="11"/>
                    <a:pt x="1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31" y="45"/>
                    <a:pt x="0" y="76"/>
                  </a:cubicBezTo>
                  <a:lnTo>
                    <a:pt x="9" y="85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9" name="Group 12488">
            <a:extLst>
              <a:ext uri="{FF2B5EF4-FFF2-40B4-BE49-F238E27FC236}">
                <a16:creationId xmlns:a16="http://schemas.microsoft.com/office/drawing/2014/main" id="{1A1B2B3D-612C-4FF8-9802-0ECA326D6B9F}"/>
              </a:ext>
            </a:extLst>
          </p:cNvPr>
          <p:cNvGrpSpPr/>
          <p:nvPr userDrawn="1"/>
        </p:nvGrpSpPr>
        <p:grpSpPr>
          <a:xfrm>
            <a:off x="8042420" y="2800975"/>
            <a:ext cx="424857" cy="434180"/>
            <a:chOff x="8659813" y="3181350"/>
            <a:chExt cx="506413" cy="517526"/>
          </a:xfrm>
        </p:grpSpPr>
        <p:sp>
          <p:nvSpPr>
            <p:cNvPr id="130" name="Freeform 104">
              <a:extLst>
                <a:ext uri="{FF2B5EF4-FFF2-40B4-BE49-F238E27FC236}">
                  <a16:creationId xmlns:a16="http://schemas.microsoft.com/office/drawing/2014/main" id="{FE4AC094-8436-4671-893E-A499572D51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1413" y="3233738"/>
              <a:ext cx="307975" cy="465138"/>
            </a:xfrm>
            <a:custGeom>
              <a:avLst/>
              <a:gdLst>
                <a:gd name="T0" fmla="*/ 82 w 82"/>
                <a:gd name="T1" fmla="*/ 119 h 124"/>
                <a:gd name="T2" fmla="*/ 50 w 82"/>
                <a:gd name="T3" fmla="*/ 31 h 124"/>
                <a:gd name="T4" fmla="*/ 57 w 82"/>
                <a:gd name="T5" fmla="*/ 17 h 124"/>
                <a:gd name="T6" fmla="*/ 41 w 82"/>
                <a:gd name="T7" fmla="*/ 0 h 124"/>
                <a:gd name="T8" fmla="*/ 24 w 82"/>
                <a:gd name="T9" fmla="*/ 17 h 124"/>
                <a:gd name="T10" fmla="*/ 32 w 82"/>
                <a:gd name="T11" fmla="*/ 31 h 124"/>
                <a:gd name="T12" fmla="*/ 0 w 82"/>
                <a:gd name="T13" fmla="*/ 119 h 124"/>
                <a:gd name="T14" fmla="*/ 3 w 82"/>
                <a:gd name="T15" fmla="*/ 124 h 124"/>
                <a:gd name="T16" fmla="*/ 4 w 82"/>
                <a:gd name="T17" fmla="*/ 124 h 124"/>
                <a:gd name="T18" fmla="*/ 8 w 82"/>
                <a:gd name="T19" fmla="*/ 121 h 124"/>
                <a:gd name="T20" fmla="*/ 12 w 82"/>
                <a:gd name="T21" fmla="*/ 109 h 124"/>
                <a:gd name="T22" fmla="*/ 69 w 82"/>
                <a:gd name="T23" fmla="*/ 109 h 124"/>
                <a:gd name="T24" fmla="*/ 74 w 82"/>
                <a:gd name="T25" fmla="*/ 121 h 124"/>
                <a:gd name="T26" fmla="*/ 78 w 82"/>
                <a:gd name="T27" fmla="*/ 124 h 124"/>
                <a:gd name="T28" fmla="*/ 79 w 82"/>
                <a:gd name="T29" fmla="*/ 124 h 124"/>
                <a:gd name="T30" fmla="*/ 82 w 82"/>
                <a:gd name="T31" fmla="*/ 119 h 124"/>
                <a:gd name="T32" fmla="*/ 41 w 82"/>
                <a:gd name="T33" fmla="*/ 33 h 124"/>
                <a:gd name="T34" fmla="*/ 42 w 82"/>
                <a:gd name="T35" fmla="*/ 33 h 124"/>
                <a:gd name="T36" fmla="*/ 46 w 82"/>
                <a:gd name="T37" fmla="*/ 44 h 124"/>
                <a:gd name="T38" fmla="*/ 35 w 82"/>
                <a:gd name="T39" fmla="*/ 44 h 124"/>
                <a:gd name="T40" fmla="*/ 39 w 82"/>
                <a:gd name="T41" fmla="*/ 33 h 124"/>
                <a:gd name="T42" fmla="*/ 41 w 82"/>
                <a:gd name="T43" fmla="*/ 33 h 124"/>
                <a:gd name="T44" fmla="*/ 32 w 82"/>
                <a:gd name="T45" fmla="*/ 53 h 124"/>
                <a:gd name="T46" fmla="*/ 50 w 82"/>
                <a:gd name="T47" fmla="*/ 53 h 124"/>
                <a:gd name="T48" fmla="*/ 53 w 82"/>
                <a:gd name="T49" fmla="*/ 63 h 124"/>
                <a:gd name="T50" fmla="*/ 29 w 82"/>
                <a:gd name="T51" fmla="*/ 63 h 124"/>
                <a:gd name="T52" fmla="*/ 32 w 82"/>
                <a:gd name="T53" fmla="*/ 53 h 124"/>
                <a:gd name="T54" fmla="*/ 26 w 82"/>
                <a:gd name="T55" fmla="*/ 72 h 124"/>
                <a:gd name="T56" fmla="*/ 56 w 82"/>
                <a:gd name="T57" fmla="*/ 72 h 124"/>
                <a:gd name="T58" fmla="*/ 60 w 82"/>
                <a:gd name="T59" fmla="*/ 81 h 124"/>
                <a:gd name="T60" fmla="*/ 22 w 82"/>
                <a:gd name="T61" fmla="*/ 81 h 124"/>
                <a:gd name="T62" fmla="*/ 26 w 82"/>
                <a:gd name="T63" fmla="*/ 72 h 124"/>
                <a:gd name="T64" fmla="*/ 16 w 82"/>
                <a:gd name="T65" fmla="*/ 100 h 124"/>
                <a:gd name="T66" fmla="*/ 19 w 82"/>
                <a:gd name="T67" fmla="*/ 90 h 124"/>
                <a:gd name="T68" fmla="*/ 63 w 82"/>
                <a:gd name="T69" fmla="*/ 90 h 124"/>
                <a:gd name="T70" fmla="*/ 66 w 82"/>
                <a:gd name="T71" fmla="*/ 100 h 124"/>
                <a:gd name="T72" fmla="*/ 16 w 82"/>
                <a:gd name="T73" fmla="*/ 10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2" h="124">
                  <a:moveTo>
                    <a:pt x="82" y="119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4" y="28"/>
                    <a:pt x="57" y="23"/>
                    <a:pt x="57" y="17"/>
                  </a:cubicBezTo>
                  <a:cubicBezTo>
                    <a:pt x="57" y="8"/>
                    <a:pt x="50" y="0"/>
                    <a:pt x="41" y="0"/>
                  </a:cubicBezTo>
                  <a:cubicBezTo>
                    <a:pt x="31" y="0"/>
                    <a:pt x="24" y="8"/>
                    <a:pt x="24" y="17"/>
                  </a:cubicBezTo>
                  <a:cubicBezTo>
                    <a:pt x="24" y="23"/>
                    <a:pt x="27" y="28"/>
                    <a:pt x="32" y="31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21"/>
                    <a:pt x="1" y="123"/>
                    <a:pt x="3" y="124"/>
                  </a:cubicBezTo>
                  <a:cubicBezTo>
                    <a:pt x="3" y="124"/>
                    <a:pt x="4" y="124"/>
                    <a:pt x="4" y="124"/>
                  </a:cubicBezTo>
                  <a:cubicBezTo>
                    <a:pt x="6" y="124"/>
                    <a:pt x="7" y="123"/>
                    <a:pt x="8" y="121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69" y="109"/>
                    <a:pt x="69" y="109"/>
                    <a:pt x="69" y="109"/>
                  </a:cubicBezTo>
                  <a:cubicBezTo>
                    <a:pt x="74" y="121"/>
                    <a:pt x="74" y="121"/>
                    <a:pt x="74" y="121"/>
                  </a:cubicBezTo>
                  <a:cubicBezTo>
                    <a:pt x="75" y="123"/>
                    <a:pt x="76" y="124"/>
                    <a:pt x="78" y="124"/>
                  </a:cubicBezTo>
                  <a:cubicBezTo>
                    <a:pt x="78" y="124"/>
                    <a:pt x="79" y="124"/>
                    <a:pt x="79" y="124"/>
                  </a:cubicBezTo>
                  <a:cubicBezTo>
                    <a:pt x="81" y="123"/>
                    <a:pt x="82" y="121"/>
                    <a:pt x="82" y="119"/>
                  </a:cubicBezTo>
                  <a:close/>
                  <a:moveTo>
                    <a:pt x="41" y="33"/>
                  </a:moveTo>
                  <a:cubicBezTo>
                    <a:pt x="41" y="33"/>
                    <a:pt x="42" y="33"/>
                    <a:pt x="42" y="33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40" y="33"/>
                    <a:pt x="40" y="33"/>
                    <a:pt x="41" y="33"/>
                  </a:cubicBezTo>
                  <a:close/>
                  <a:moveTo>
                    <a:pt x="32" y="53"/>
                  </a:moveTo>
                  <a:cubicBezTo>
                    <a:pt x="50" y="53"/>
                    <a:pt x="50" y="53"/>
                    <a:pt x="50" y="53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29" y="63"/>
                    <a:pt x="29" y="63"/>
                    <a:pt x="29" y="63"/>
                  </a:cubicBezTo>
                  <a:lnTo>
                    <a:pt x="32" y="53"/>
                  </a:lnTo>
                  <a:close/>
                  <a:moveTo>
                    <a:pt x="26" y="72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22" y="81"/>
                    <a:pt x="22" y="81"/>
                    <a:pt x="22" y="81"/>
                  </a:cubicBezTo>
                  <a:lnTo>
                    <a:pt x="26" y="72"/>
                  </a:lnTo>
                  <a:close/>
                  <a:moveTo>
                    <a:pt x="16" y="100"/>
                  </a:moveTo>
                  <a:cubicBezTo>
                    <a:pt x="19" y="90"/>
                    <a:pt x="19" y="90"/>
                    <a:pt x="19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6" y="100"/>
                    <a:pt x="66" y="100"/>
                    <a:pt x="66" y="100"/>
                  </a:cubicBezTo>
                  <a:lnTo>
                    <a:pt x="16" y="10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1" name="Freeform 105">
              <a:extLst>
                <a:ext uri="{FF2B5EF4-FFF2-40B4-BE49-F238E27FC236}">
                  <a16:creationId xmlns:a16="http://schemas.microsoft.com/office/drawing/2014/main" id="{8BCDF266-08EF-4084-84A8-154077FA5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6013" y="3206750"/>
              <a:ext cx="88900" cy="184150"/>
            </a:xfrm>
            <a:custGeom>
              <a:avLst/>
              <a:gdLst>
                <a:gd name="T0" fmla="*/ 20 w 24"/>
                <a:gd name="T1" fmla="*/ 49 h 49"/>
                <a:gd name="T2" fmla="*/ 17 w 24"/>
                <a:gd name="T3" fmla="*/ 47 h 49"/>
                <a:gd name="T4" fmla="*/ 16 w 24"/>
                <a:gd name="T5" fmla="*/ 2 h 49"/>
                <a:gd name="T6" fmla="*/ 22 w 24"/>
                <a:gd name="T7" fmla="*/ 1 h 49"/>
                <a:gd name="T8" fmla="*/ 23 w 24"/>
                <a:gd name="T9" fmla="*/ 7 h 49"/>
                <a:gd name="T10" fmla="*/ 23 w 24"/>
                <a:gd name="T11" fmla="*/ 42 h 49"/>
                <a:gd name="T12" fmla="*/ 22 w 24"/>
                <a:gd name="T13" fmla="*/ 48 h 49"/>
                <a:gd name="T14" fmla="*/ 20 w 24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49">
                  <a:moveTo>
                    <a:pt x="20" y="49"/>
                  </a:moveTo>
                  <a:cubicBezTo>
                    <a:pt x="19" y="49"/>
                    <a:pt x="17" y="48"/>
                    <a:pt x="17" y="47"/>
                  </a:cubicBezTo>
                  <a:cubicBezTo>
                    <a:pt x="16" y="47"/>
                    <a:pt x="0" y="27"/>
                    <a:pt x="16" y="2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4" y="5"/>
                    <a:pt x="23" y="7"/>
                  </a:cubicBezTo>
                  <a:cubicBezTo>
                    <a:pt x="10" y="26"/>
                    <a:pt x="23" y="42"/>
                    <a:pt x="23" y="42"/>
                  </a:cubicBezTo>
                  <a:cubicBezTo>
                    <a:pt x="24" y="44"/>
                    <a:pt x="24" y="46"/>
                    <a:pt x="22" y="48"/>
                  </a:cubicBezTo>
                  <a:cubicBezTo>
                    <a:pt x="22" y="49"/>
                    <a:pt x="21" y="49"/>
                    <a:pt x="20" y="4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Freeform 106">
              <a:extLst>
                <a:ext uri="{FF2B5EF4-FFF2-40B4-BE49-F238E27FC236}">
                  <a16:creationId xmlns:a16="http://schemas.microsoft.com/office/drawing/2014/main" id="{B6F7523F-A319-4106-9956-2A233196D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9813" y="3181350"/>
              <a:ext cx="98425" cy="234950"/>
            </a:xfrm>
            <a:custGeom>
              <a:avLst/>
              <a:gdLst>
                <a:gd name="T0" fmla="*/ 21 w 26"/>
                <a:gd name="T1" fmla="*/ 63 h 63"/>
                <a:gd name="T2" fmla="*/ 18 w 26"/>
                <a:gd name="T3" fmla="*/ 61 h 63"/>
                <a:gd name="T4" fmla="*/ 17 w 26"/>
                <a:gd name="T5" fmla="*/ 2 h 63"/>
                <a:gd name="T6" fmla="*/ 23 w 26"/>
                <a:gd name="T7" fmla="*/ 1 h 63"/>
                <a:gd name="T8" fmla="*/ 24 w 26"/>
                <a:gd name="T9" fmla="*/ 7 h 63"/>
                <a:gd name="T10" fmla="*/ 25 w 26"/>
                <a:gd name="T11" fmla="*/ 57 h 63"/>
                <a:gd name="T12" fmla="*/ 23 w 26"/>
                <a:gd name="T13" fmla="*/ 62 h 63"/>
                <a:gd name="T14" fmla="*/ 21 w 26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63">
                  <a:moveTo>
                    <a:pt x="21" y="63"/>
                  </a:moveTo>
                  <a:cubicBezTo>
                    <a:pt x="20" y="63"/>
                    <a:pt x="19" y="62"/>
                    <a:pt x="18" y="61"/>
                  </a:cubicBezTo>
                  <a:cubicBezTo>
                    <a:pt x="17" y="60"/>
                    <a:pt x="0" y="30"/>
                    <a:pt x="17" y="2"/>
                  </a:cubicBezTo>
                  <a:cubicBezTo>
                    <a:pt x="19" y="1"/>
                    <a:pt x="21" y="0"/>
                    <a:pt x="23" y="1"/>
                  </a:cubicBezTo>
                  <a:cubicBezTo>
                    <a:pt x="25" y="2"/>
                    <a:pt x="25" y="5"/>
                    <a:pt x="24" y="7"/>
                  </a:cubicBezTo>
                  <a:cubicBezTo>
                    <a:pt x="9" y="30"/>
                    <a:pt x="25" y="57"/>
                    <a:pt x="25" y="57"/>
                  </a:cubicBezTo>
                  <a:cubicBezTo>
                    <a:pt x="26" y="59"/>
                    <a:pt x="25" y="61"/>
                    <a:pt x="23" y="62"/>
                  </a:cubicBezTo>
                  <a:cubicBezTo>
                    <a:pt x="23" y="63"/>
                    <a:pt x="22" y="63"/>
                    <a:pt x="21" y="63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Freeform 107">
              <a:extLst>
                <a:ext uri="{FF2B5EF4-FFF2-40B4-BE49-F238E27FC236}">
                  <a16:creationId xmlns:a16="http://schemas.microsoft.com/office/drawing/2014/main" id="{FCDBC4A1-EB08-44D3-B93F-BE0F1EFBF0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1125" y="3206750"/>
              <a:ext cx="90488" cy="184150"/>
            </a:xfrm>
            <a:custGeom>
              <a:avLst/>
              <a:gdLst>
                <a:gd name="T0" fmla="*/ 5 w 24"/>
                <a:gd name="T1" fmla="*/ 49 h 49"/>
                <a:gd name="T2" fmla="*/ 2 w 24"/>
                <a:gd name="T3" fmla="*/ 48 h 49"/>
                <a:gd name="T4" fmla="*/ 1 w 24"/>
                <a:gd name="T5" fmla="*/ 42 h 49"/>
                <a:gd name="T6" fmla="*/ 1 w 24"/>
                <a:gd name="T7" fmla="*/ 7 h 49"/>
                <a:gd name="T8" fmla="*/ 2 w 24"/>
                <a:gd name="T9" fmla="*/ 1 h 49"/>
                <a:gd name="T10" fmla="*/ 8 w 24"/>
                <a:gd name="T11" fmla="*/ 2 h 49"/>
                <a:gd name="T12" fmla="*/ 8 w 24"/>
                <a:gd name="T13" fmla="*/ 47 h 49"/>
                <a:gd name="T14" fmla="*/ 5 w 24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49">
                  <a:moveTo>
                    <a:pt x="5" y="49"/>
                  </a:moveTo>
                  <a:cubicBezTo>
                    <a:pt x="4" y="49"/>
                    <a:pt x="3" y="49"/>
                    <a:pt x="2" y="48"/>
                  </a:cubicBezTo>
                  <a:cubicBezTo>
                    <a:pt x="0" y="46"/>
                    <a:pt x="0" y="44"/>
                    <a:pt x="1" y="42"/>
                  </a:cubicBezTo>
                  <a:cubicBezTo>
                    <a:pt x="2" y="42"/>
                    <a:pt x="14" y="26"/>
                    <a:pt x="1" y="7"/>
                  </a:cubicBezTo>
                  <a:cubicBezTo>
                    <a:pt x="0" y="5"/>
                    <a:pt x="1" y="2"/>
                    <a:pt x="2" y="1"/>
                  </a:cubicBezTo>
                  <a:cubicBezTo>
                    <a:pt x="4" y="0"/>
                    <a:pt x="7" y="0"/>
                    <a:pt x="8" y="2"/>
                  </a:cubicBezTo>
                  <a:cubicBezTo>
                    <a:pt x="24" y="27"/>
                    <a:pt x="8" y="47"/>
                    <a:pt x="8" y="47"/>
                  </a:cubicBezTo>
                  <a:cubicBezTo>
                    <a:pt x="7" y="48"/>
                    <a:pt x="6" y="49"/>
                    <a:pt x="5" y="4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 108">
              <a:extLst>
                <a:ext uri="{FF2B5EF4-FFF2-40B4-BE49-F238E27FC236}">
                  <a16:creationId xmlns:a16="http://schemas.microsoft.com/office/drawing/2014/main" id="{96882D6F-59B9-41C0-B1BB-EA77CC5C3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69388" y="3181350"/>
              <a:ext cx="96838" cy="234950"/>
            </a:xfrm>
            <a:custGeom>
              <a:avLst/>
              <a:gdLst>
                <a:gd name="T0" fmla="*/ 5 w 26"/>
                <a:gd name="T1" fmla="*/ 63 h 63"/>
                <a:gd name="T2" fmla="*/ 3 w 26"/>
                <a:gd name="T3" fmla="*/ 62 h 63"/>
                <a:gd name="T4" fmla="*/ 2 w 26"/>
                <a:gd name="T5" fmla="*/ 57 h 63"/>
                <a:gd name="T6" fmla="*/ 2 w 26"/>
                <a:gd name="T7" fmla="*/ 7 h 63"/>
                <a:gd name="T8" fmla="*/ 3 w 26"/>
                <a:gd name="T9" fmla="*/ 1 h 63"/>
                <a:gd name="T10" fmla="*/ 9 w 26"/>
                <a:gd name="T11" fmla="*/ 2 h 63"/>
                <a:gd name="T12" fmla="*/ 8 w 26"/>
                <a:gd name="T13" fmla="*/ 61 h 63"/>
                <a:gd name="T14" fmla="*/ 5 w 26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63">
                  <a:moveTo>
                    <a:pt x="5" y="63"/>
                  </a:moveTo>
                  <a:cubicBezTo>
                    <a:pt x="4" y="63"/>
                    <a:pt x="4" y="63"/>
                    <a:pt x="3" y="62"/>
                  </a:cubicBezTo>
                  <a:cubicBezTo>
                    <a:pt x="1" y="61"/>
                    <a:pt x="0" y="59"/>
                    <a:pt x="2" y="57"/>
                  </a:cubicBezTo>
                  <a:cubicBezTo>
                    <a:pt x="2" y="57"/>
                    <a:pt x="17" y="30"/>
                    <a:pt x="2" y="7"/>
                  </a:cubicBezTo>
                  <a:cubicBezTo>
                    <a:pt x="1" y="5"/>
                    <a:pt x="2" y="2"/>
                    <a:pt x="3" y="1"/>
                  </a:cubicBezTo>
                  <a:cubicBezTo>
                    <a:pt x="5" y="0"/>
                    <a:pt x="8" y="1"/>
                    <a:pt x="9" y="2"/>
                  </a:cubicBezTo>
                  <a:cubicBezTo>
                    <a:pt x="26" y="30"/>
                    <a:pt x="9" y="60"/>
                    <a:pt x="8" y="61"/>
                  </a:cubicBezTo>
                  <a:cubicBezTo>
                    <a:pt x="8" y="62"/>
                    <a:pt x="6" y="63"/>
                    <a:pt x="5" y="63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35" name="Freeform 109">
            <a:extLst>
              <a:ext uri="{FF2B5EF4-FFF2-40B4-BE49-F238E27FC236}">
                <a16:creationId xmlns:a16="http://schemas.microsoft.com/office/drawing/2014/main" id="{A81B2BDF-7F7D-44E0-95CC-F237A37C3E12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83969" y="3619884"/>
            <a:ext cx="430184" cy="430184"/>
          </a:xfrm>
          <a:custGeom>
            <a:avLst/>
            <a:gdLst>
              <a:gd name="T0" fmla="*/ 0 w 137"/>
              <a:gd name="T1" fmla="*/ 69 h 137"/>
              <a:gd name="T2" fmla="*/ 137 w 137"/>
              <a:gd name="T3" fmla="*/ 69 h 137"/>
              <a:gd name="T4" fmla="*/ 104 w 137"/>
              <a:gd name="T5" fmla="*/ 65 h 137"/>
              <a:gd name="T6" fmla="*/ 121 w 137"/>
              <a:gd name="T7" fmla="*/ 38 h 137"/>
              <a:gd name="T8" fmla="*/ 104 w 137"/>
              <a:gd name="T9" fmla="*/ 65 h 137"/>
              <a:gd name="T10" fmla="*/ 121 w 137"/>
              <a:gd name="T11" fmla="*/ 100 h 137"/>
              <a:gd name="T12" fmla="*/ 104 w 137"/>
              <a:gd name="T13" fmla="*/ 72 h 137"/>
              <a:gd name="T14" fmla="*/ 118 w 137"/>
              <a:gd name="T15" fmla="*/ 33 h 137"/>
              <a:gd name="T16" fmla="*/ 89 w 137"/>
              <a:gd name="T17" fmla="*/ 11 h 137"/>
              <a:gd name="T18" fmla="*/ 72 w 137"/>
              <a:gd name="T19" fmla="*/ 40 h 137"/>
              <a:gd name="T20" fmla="*/ 82 w 137"/>
              <a:gd name="T21" fmla="*/ 14 h 137"/>
              <a:gd name="T22" fmla="*/ 72 w 137"/>
              <a:gd name="T23" fmla="*/ 40 h 137"/>
              <a:gd name="T24" fmla="*/ 98 w 137"/>
              <a:gd name="T25" fmla="*/ 65 h 137"/>
              <a:gd name="T26" fmla="*/ 72 w 137"/>
              <a:gd name="T27" fmla="*/ 46 h 137"/>
              <a:gd name="T28" fmla="*/ 65 w 137"/>
              <a:gd name="T29" fmla="*/ 16 h 137"/>
              <a:gd name="T30" fmla="*/ 44 w 137"/>
              <a:gd name="T31" fmla="*/ 38 h 137"/>
              <a:gd name="T32" fmla="*/ 65 w 137"/>
              <a:gd name="T33" fmla="*/ 16 h 137"/>
              <a:gd name="T34" fmla="*/ 65 w 137"/>
              <a:gd name="T35" fmla="*/ 46 h 137"/>
              <a:gd name="T36" fmla="*/ 40 w 137"/>
              <a:gd name="T37" fmla="*/ 65 h 137"/>
              <a:gd name="T38" fmla="*/ 65 w 137"/>
              <a:gd name="T39" fmla="*/ 92 h 137"/>
              <a:gd name="T40" fmla="*/ 40 w 137"/>
              <a:gd name="T41" fmla="*/ 72 h 137"/>
              <a:gd name="T42" fmla="*/ 65 w 137"/>
              <a:gd name="T43" fmla="*/ 98 h 137"/>
              <a:gd name="T44" fmla="*/ 55 w 137"/>
              <a:gd name="T45" fmla="*/ 124 h 137"/>
              <a:gd name="T46" fmla="*/ 65 w 137"/>
              <a:gd name="T47" fmla="*/ 98 h 137"/>
              <a:gd name="T48" fmla="*/ 72 w 137"/>
              <a:gd name="T49" fmla="*/ 98 h 137"/>
              <a:gd name="T50" fmla="*/ 83 w 137"/>
              <a:gd name="T51" fmla="*/ 124 h 137"/>
              <a:gd name="T52" fmla="*/ 72 w 137"/>
              <a:gd name="T53" fmla="*/ 92 h 137"/>
              <a:gd name="T54" fmla="*/ 98 w 137"/>
              <a:gd name="T55" fmla="*/ 72 h 137"/>
              <a:gd name="T56" fmla="*/ 72 w 137"/>
              <a:gd name="T57" fmla="*/ 92 h 137"/>
              <a:gd name="T58" fmla="*/ 37 w 137"/>
              <a:gd name="T59" fmla="*/ 37 h 137"/>
              <a:gd name="T60" fmla="*/ 48 w 137"/>
              <a:gd name="T61" fmla="*/ 12 h 137"/>
              <a:gd name="T62" fmla="*/ 36 w 137"/>
              <a:gd name="T63" fmla="*/ 95 h 137"/>
              <a:gd name="T64" fmla="*/ 8 w 137"/>
              <a:gd name="T65" fmla="*/ 72 h 137"/>
              <a:gd name="T66" fmla="*/ 8 w 137"/>
              <a:gd name="T67" fmla="*/ 65 h 137"/>
              <a:gd name="T68" fmla="*/ 36 w 137"/>
              <a:gd name="T69" fmla="*/ 43 h 137"/>
              <a:gd name="T70" fmla="*/ 8 w 137"/>
              <a:gd name="T71" fmla="*/ 65 h 137"/>
              <a:gd name="T72" fmla="*/ 38 w 137"/>
              <a:gd name="T73" fmla="*/ 100 h 137"/>
              <a:gd name="T74" fmla="*/ 20 w 137"/>
              <a:gd name="T75" fmla="*/ 105 h 137"/>
              <a:gd name="T76" fmla="*/ 100 w 137"/>
              <a:gd name="T77" fmla="*/ 101 h 137"/>
              <a:gd name="T78" fmla="*/ 90 w 137"/>
              <a:gd name="T79" fmla="*/ 125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37" h="137">
                <a:moveTo>
                  <a:pt x="69" y="0"/>
                </a:moveTo>
                <a:cubicBezTo>
                  <a:pt x="31" y="0"/>
                  <a:pt x="0" y="31"/>
                  <a:pt x="0" y="69"/>
                </a:cubicBezTo>
                <a:cubicBezTo>
                  <a:pt x="0" y="106"/>
                  <a:pt x="31" y="137"/>
                  <a:pt x="69" y="137"/>
                </a:cubicBezTo>
                <a:cubicBezTo>
                  <a:pt x="107" y="137"/>
                  <a:pt x="137" y="106"/>
                  <a:pt x="137" y="69"/>
                </a:cubicBezTo>
                <a:cubicBezTo>
                  <a:pt x="137" y="31"/>
                  <a:pt x="107" y="0"/>
                  <a:pt x="69" y="0"/>
                </a:cubicBezTo>
                <a:close/>
                <a:moveTo>
                  <a:pt x="104" y="65"/>
                </a:moveTo>
                <a:cubicBezTo>
                  <a:pt x="104" y="58"/>
                  <a:pt x="103" y="51"/>
                  <a:pt x="101" y="43"/>
                </a:cubicBezTo>
                <a:cubicBezTo>
                  <a:pt x="108" y="42"/>
                  <a:pt x="114" y="40"/>
                  <a:pt x="121" y="38"/>
                </a:cubicBezTo>
                <a:cubicBezTo>
                  <a:pt x="126" y="46"/>
                  <a:pt x="129" y="55"/>
                  <a:pt x="129" y="65"/>
                </a:cubicBezTo>
                <a:lnTo>
                  <a:pt x="104" y="65"/>
                </a:lnTo>
                <a:close/>
                <a:moveTo>
                  <a:pt x="129" y="72"/>
                </a:moveTo>
                <a:cubicBezTo>
                  <a:pt x="129" y="82"/>
                  <a:pt x="126" y="92"/>
                  <a:pt x="121" y="100"/>
                </a:cubicBezTo>
                <a:cubicBezTo>
                  <a:pt x="114" y="98"/>
                  <a:pt x="108" y="96"/>
                  <a:pt x="101" y="95"/>
                </a:cubicBezTo>
                <a:cubicBezTo>
                  <a:pt x="103" y="88"/>
                  <a:pt x="104" y="80"/>
                  <a:pt x="104" y="72"/>
                </a:cubicBezTo>
                <a:lnTo>
                  <a:pt x="129" y="72"/>
                </a:lnTo>
                <a:close/>
                <a:moveTo>
                  <a:pt x="118" y="33"/>
                </a:moveTo>
                <a:cubicBezTo>
                  <a:pt x="112" y="35"/>
                  <a:pt x="106" y="36"/>
                  <a:pt x="100" y="37"/>
                </a:cubicBezTo>
                <a:cubicBezTo>
                  <a:pt x="97" y="29"/>
                  <a:pt x="94" y="20"/>
                  <a:pt x="89" y="11"/>
                </a:cubicBezTo>
                <a:cubicBezTo>
                  <a:pt x="100" y="15"/>
                  <a:pt x="110" y="23"/>
                  <a:pt x="118" y="33"/>
                </a:cubicBezTo>
                <a:close/>
                <a:moveTo>
                  <a:pt x="72" y="40"/>
                </a:moveTo>
                <a:cubicBezTo>
                  <a:pt x="72" y="16"/>
                  <a:pt x="72" y="16"/>
                  <a:pt x="72" y="16"/>
                </a:cubicBezTo>
                <a:cubicBezTo>
                  <a:pt x="76" y="16"/>
                  <a:pt x="79" y="15"/>
                  <a:pt x="82" y="14"/>
                </a:cubicBezTo>
                <a:cubicBezTo>
                  <a:pt x="87" y="22"/>
                  <a:pt x="91" y="30"/>
                  <a:pt x="93" y="38"/>
                </a:cubicBezTo>
                <a:cubicBezTo>
                  <a:pt x="86" y="39"/>
                  <a:pt x="79" y="40"/>
                  <a:pt x="72" y="40"/>
                </a:cubicBezTo>
                <a:close/>
                <a:moveTo>
                  <a:pt x="95" y="44"/>
                </a:moveTo>
                <a:cubicBezTo>
                  <a:pt x="97" y="51"/>
                  <a:pt x="97" y="59"/>
                  <a:pt x="98" y="65"/>
                </a:cubicBezTo>
                <a:cubicBezTo>
                  <a:pt x="72" y="65"/>
                  <a:pt x="72" y="65"/>
                  <a:pt x="72" y="65"/>
                </a:cubicBezTo>
                <a:cubicBezTo>
                  <a:pt x="72" y="46"/>
                  <a:pt x="72" y="46"/>
                  <a:pt x="72" y="46"/>
                </a:cubicBezTo>
                <a:cubicBezTo>
                  <a:pt x="79" y="46"/>
                  <a:pt x="87" y="45"/>
                  <a:pt x="95" y="44"/>
                </a:cubicBezTo>
                <a:close/>
                <a:moveTo>
                  <a:pt x="65" y="16"/>
                </a:moveTo>
                <a:cubicBezTo>
                  <a:pt x="65" y="40"/>
                  <a:pt x="65" y="40"/>
                  <a:pt x="65" y="40"/>
                </a:cubicBezTo>
                <a:cubicBezTo>
                  <a:pt x="57" y="40"/>
                  <a:pt x="50" y="39"/>
                  <a:pt x="44" y="38"/>
                </a:cubicBezTo>
                <a:cubicBezTo>
                  <a:pt x="46" y="30"/>
                  <a:pt x="50" y="22"/>
                  <a:pt x="55" y="14"/>
                </a:cubicBezTo>
                <a:cubicBezTo>
                  <a:pt x="58" y="15"/>
                  <a:pt x="61" y="16"/>
                  <a:pt x="65" y="16"/>
                </a:cubicBezTo>
                <a:close/>
                <a:moveTo>
                  <a:pt x="42" y="44"/>
                </a:moveTo>
                <a:cubicBezTo>
                  <a:pt x="49" y="45"/>
                  <a:pt x="57" y="46"/>
                  <a:pt x="65" y="46"/>
                </a:cubicBezTo>
                <a:cubicBezTo>
                  <a:pt x="65" y="65"/>
                  <a:pt x="65" y="65"/>
                  <a:pt x="65" y="65"/>
                </a:cubicBezTo>
                <a:cubicBezTo>
                  <a:pt x="40" y="65"/>
                  <a:pt x="40" y="65"/>
                  <a:pt x="40" y="65"/>
                </a:cubicBezTo>
                <a:moveTo>
                  <a:pt x="65" y="72"/>
                </a:moveTo>
                <a:cubicBezTo>
                  <a:pt x="65" y="92"/>
                  <a:pt x="65" y="92"/>
                  <a:pt x="65" y="92"/>
                </a:cubicBezTo>
                <a:cubicBezTo>
                  <a:pt x="57" y="92"/>
                  <a:pt x="49" y="93"/>
                  <a:pt x="43" y="93"/>
                </a:cubicBezTo>
                <a:cubicBezTo>
                  <a:pt x="41" y="87"/>
                  <a:pt x="40" y="80"/>
                  <a:pt x="40" y="72"/>
                </a:cubicBezTo>
                <a:lnTo>
                  <a:pt x="65" y="72"/>
                </a:lnTo>
                <a:close/>
                <a:moveTo>
                  <a:pt x="65" y="98"/>
                </a:moveTo>
                <a:cubicBezTo>
                  <a:pt x="65" y="121"/>
                  <a:pt x="65" y="121"/>
                  <a:pt x="65" y="121"/>
                </a:cubicBezTo>
                <a:cubicBezTo>
                  <a:pt x="61" y="122"/>
                  <a:pt x="58" y="122"/>
                  <a:pt x="55" y="124"/>
                </a:cubicBezTo>
                <a:cubicBezTo>
                  <a:pt x="52" y="118"/>
                  <a:pt x="48" y="110"/>
                  <a:pt x="44" y="99"/>
                </a:cubicBezTo>
                <a:cubicBezTo>
                  <a:pt x="50" y="99"/>
                  <a:pt x="57" y="98"/>
                  <a:pt x="65" y="98"/>
                </a:cubicBezTo>
                <a:close/>
                <a:moveTo>
                  <a:pt x="72" y="121"/>
                </a:moveTo>
                <a:cubicBezTo>
                  <a:pt x="72" y="98"/>
                  <a:pt x="72" y="98"/>
                  <a:pt x="72" y="98"/>
                </a:cubicBezTo>
                <a:cubicBezTo>
                  <a:pt x="79" y="98"/>
                  <a:pt x="86" y="99"/>
                  <a:pt x="93" y="100"/>
                </a:cubicBezTo>
                <a:cubicBezTo>
                  <a:pt x="90" y="110"/>
                  <a:pt x="86" y="118"/>
                  <a:pt x="83" y="124"/>
                </a:cubicBezTo>
                <a:cubicBezTo>
                  <a:pt x="80" y="122"/>
                  <a:pt x="76" y="122"/>
                  <a:pt x="72" y="121"/>
                </a:cubicBezTo>
                <a:close/>
                <a:moveTo>
                  <a:pt x="72" y="92"/>
                </a:moveTo>
                <a:cubicBezTo>
                  <a:pt x="72" y="72"/>
                  <a:pt x="72" y="72"/>
                  <a:pt x="72" y="72"/>
                </a:cubicBezTo>
                <a:cubicBezTo>
                  <a:pt x="98" y="72"/>
                  <a:pt x="98" y="72"/>
                  <a:pt x="98" y="72"/>
                </a:cubicBezTo>
                <a:cubicBezTo>
                  <a:pt x="97" y="80"/>
                  <a:pt x="96" y="87"/>
                  <a:pt x="95" y="94"/>
                </a:cubicBezTo>
                <a:cubicBezTo>
                  <a:pt x="87" y="93"/>
                  <a:pt x="79" y="92"/>
                  <a:pt x="72" y="92"/>
                </a:cubicBezTo>
                <a:close/>
                <a:moveTo>
                  <a:pt x="48" y="12"/>
                </a:moveTo>
                <a:cubicBezTo>
                  <a:pt x="43" y="20"/>
                  <a:pt x="40" y="29"/>
                  <a:pt x="37" y="37"/>
                </a:cubicBezTo>
                <a:cubicBezTo>
                  <a:pt x="29" y="36"/>
                  <a:pt x="23" y="34"/>
                  <a:pt x="20" y="33"/>
                </a:cubicBezTo>
                <a:cubicBezTo>
                  <a:pt x="27" y="23"/>
                  <a:pt x="37" y="16"/>
                  <a:pt x="48" y="12"/>
                </a:cubicBezTo>
                <a:close/>
                <a:moveTo>
                  <a:pt x="33" y="72"/>
                </a:moveTo>
                <a:cubicBezTo>
                  <a:pt x="33" y="80"/>
                  <a:pt x="34" y="88"/>
                  <a:pt x="36" y="95"/>
                </a:cubicBezTo>
                <a:cubicBezTo>
                  <a:pt x="27" y="96"/>
                  <a:pt x="20" y="98"/>
                  <a:pt x="17" y="100"/>
                </a:cubicBezTo>
                <a:cubicBezTo>
                  <a:pt x="12" y="91"/>
                  <a:pt x="9" y="82"/>
                  <a:pt x="8" y="72"/>
                </a:cubicBezTo>
                <a:lnTo>
                  <a:pt x="33" y="72"/>
                </a:lnTo>
                <a:close/>
                <a:moveTo>
                  <a:pt x="8" y="65"/>
                </a:moveTo>
                <a:cubicBezTo>
                  <a:pt x="9" y="55"/>
                  <a:pt x="12" y="46"/>
                  <a:pt x="16" y="38"/>
                </a:cubicBezTo>
                <a:cubicBezTo>
                  <a:pt x="20" y="39"/>
                  <a:pt x="26" y="41"/>
                  <a:pt x="36" y="43"/>
                </a:cubicBezTo>
                <a:cubicBezTo>
                  <a:pt x="34" y="51"/>
                  <a:pt x="33" y="58"/>
                  <a:pt x="33" y="65"/>
                </a:cubicBezTo>
                <a:lnTo>
                  <a:pt x="8" y="65"/>
                </a:lnTo>
                <a:close/>
                <a:moveTo>
                  <a:pt x="20" y="105"/>
                </a:moveTo>
                <a:cubicBezTo>
                  <a:pt x="24" y="104"/>
                  <a:pt x="30" y="102"/>
                  <a:pt x="38" y="100"/>
                </a:cubicBezTo>
                <a:cubicBezTo>
                  <a:pt x="41" y="111"/>
                  <a:pt x="45" y="120"/>
                  <a:pt x="48" y="126"/>
                </a:cubicBezTo>
                <a:cubicBezTo>
                  <a:pt x="37" y="122"/>
                  <a:pt x="27" y="114"/>
                  <a:pt x="20" y="105"/>
                </a:cubicBezTo>
                <a:close/>
                <a:moveTo>
                  <a:pt x="90" y="125"/>
                </a:moveTo>
                <a:cubicBezTo>
                  <a:pt x="93" y="120"/>
                  <a:pt x="97" y="111"/>
                  <a:pt x="100" y="101"/>
                </a:cubicBezTo>
                <a:cubicBezTo>
                  <a:pt x="105" y="102"/>
                  <a:pt x="111" y="103"/>
                  <a:pt x="117" y="105"/>
                </a:cubicBezTo>
                <a:cubicBezTo>
                  <a:pt x="110" y="114"/>
                  <a:pt x="101" y="121"/>
                  <a:pt x="90" y="125"/>
                </a:cubicBezTo>
                <a:close/>
              </a:path>
            </a:pathLst>
          </a:custGeom>
          <a:solidFill>
            <a:srgbClr val="D3072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6" name="Freeform 110">
            <a:extLst>
              <a:ext uri="{FF2B5EF4-FFF2-40B4-BE49-F238E27FC236}">
                <a16:creationId xmlns:a16="http://schemas.microsoft.com/office/drawing/2014/main" id="{2AD490C2-9AD4-4819-A2CA-75E6E5047C0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603506" y="3620960"/>
            <a:ext cx="430184" cy="427520"/>
          </a:xfrm>
          <a:custGeom>
            <a:avLst/>
            <a:gdLst>
              <a:gd name="T0" fmla="*/ 0 w 137"/>
              <a:gd name="T1" fmla="*/ 68 h 136"/>
              <a:gd name="T2" fmla="*/ 137 w 137"/>
              <a:gd name="T3" fmla="*/ 68 h 136"/>
              <a:gd name="T4" fmla="*/ 9 w 137"/>
              <a:gd name="T5" fmla="*/ 71 h 136"/>
              <a:gd name="T6" fmla="*/ 32 w 137"/>
              <a:gd name="T7" fmla="*/ 94 h 136"/>
              <a:gd name="T8" fmla="*/ 9 w 137"/>
              <a:gd name="T9" fmla="*/ 71 h 136"/>
              <a:gd name="T10" fmla="*/ 41 w 137"/>
              <a:gd name="T11" fmla="*/ 42 h 136"/>
              <a:gd name="T12" fmla="*/ 64 w 137"/>
              <a:gd name="T13" fmla="*/ 65 h 136"/>
              <a:gd name="T14" fmla="*/ 38 w 137"/>
              <a:gd name="T15" fmla="*/ 62 h 136"/>
              <a:gd name="T16" fmla="*/ 9 w 137"/>
              <a:gd name="T17" fmla="*/ 65 h 136"/>
              <a:gd name="T18" fmla="*/ 31 w 137"/>
              <a:gd name="T19" fmla="*/ 42 h 136"/>
              <a:gd name="T20" fmla="*/ 29 w 137"/>
              <a:gd name="T21" fmla="*/ 65 h 136"/>
              <a:gd name="T22" fmla="*/ 64 w 137"/>
              <a:gd name="T23" fmla="*/ 71 h 136"/>
              <a:gd name="T24" fmla="*/ 41 w 137"/>
              <a:gd name="T25" fmla="*/ 94 h 136"/>
              <a:gd name="T26" fmla="*/ 100 w 137"/>
              <a:gd name="T27" fmla="*/ 62 h 136"/>
              <a:gd name="T28" fmla="*/ 73 w 137"/>
              <a:gd name="T29" fmla="*/ 65 h 136"/>
              <a:gd name="T30" fmla="*/ 97 w 137"/>
              <a:gd name="T31" fmla="*/ 42 h 136"/>
              <a:gd name="T32" fmla="*/ 73 w 137"/>
              <a:gd name="T33" fmla="*/ 71 h 136"/>
              <a:gd name="T34" fmla="*/ 97 w 137"/>
              <a:gd name="T35" fmla="*/ 94 h 136"/>
              <a:gd name="T36" fmla="*/ 73 w 137"/>
              <a:gd name="T37" fmla="*/ 71 h 136"/>
              <a:gd name="T38" fmla="*/ 129 w 137"/>
              <a:gd name="T39" fmla="*/ 71 h 136"/>
              <a:gd name="T40" fmla="*/ 106 w 137"/>
              <a:gd name="T41" fmla="*/ 94 h 136"/>
              <a:gd name="T42" fmla="*/ 109 w 137"/>
              <a:gd name="T43" fmla="*/ 65 h 136"/>
              <a:gd name="T44" fmla="*/ 107 w 137"/>
              <a:gd name="T45" fmla="*/ 42 h 136"/>
              <a:gd name="T46" fmla="*/ 129 w 137"/>
              <a:gd name="T47" fmla="*/ 65 h 136"/>
              <a:gd name="T48" fmla="*/ 120 w 137"/>
              <a:gd name="T49" fmla="*/ 36 h 136"/>
              <a:gd name="T50" fmla="*/ 94 w 137"/>
              <a:gd name="T51" fmla="*/ 13 h 136"/>
              <a:gd name="T52" fmla="*/ 96 w 137"/>
              <a:gd name="T53" fmla="*/ 36 h 136"/>
              <a:gd name="T54" fmla="*/ 73 w 137"/>
              <a:gd name="T55" fmla="*/ 9 h 136"/>
              <a:gd name="T56" fmla="*/ 73 w 137"/>
              <a:gd name="T57" fmla="*/ 8 h 136"/>
              <a:gd name="T58" fmla="*/ 73 w 137"/>
              <a:gd name="T59" fmla="*/ 8 h 136"/>
              <a:gd name="T60" fmla="*/ 64 w 137"/>
              <a:gd name="T61" fmla="*/ 36 h 136"/>
              <a:gd name="T62" fmla="*/ 64 w 137"/>
              <a:gd name="T63" fmla="*/ 10 h 136"/>
              <a:gd name="T64" fmla="*/ 33 w 137"/>
              <a:gd name="T65" fmla="*/ 36 h 136"/>
              <a:gd name="T66" fmla="*/ 44 w 137"/>
              <a:gd name="T67" fmla="*/ 13 h 136"/>
              <a:gd name="T68" fmla="*/ 34 w 137"/>
              <a:gd name="T69" fmla="*/ 100 h 136"/>
              <a:gd name="T70" fmla="*/ 18 w 137"/>
              <a:gd name="T71" fmla="*/ 100 h 136"/>
              <a:gd name="T72" fmla="*/ 64 w 137"/>
              <a:gd name="T73" fmla="*/ 100 h 136"/>
              <a:gd name="T74" fmla="*/ 63 w 137"/>
              <a:gd name="T75" fmla="*/ 127 h 136"/>
              <a:gd name="T76" fmla="*/ 75 w 137"/>
              <a:gd name="T77" fmla="*/ 127 h 136"/>
              <a:gd name="T78" fmla="*/ 73 w 137"/>
              <a:gd name="T79" fmla="*/ 100 h 136"/>
              <a:gd name="T80" fmla="*/ 75 w 137"/>
              <a:gd name="T81" fmla="*/ 127 h 136"/>
              <a:gd name="T82" fmla="*/ 104 w 137"/>
              <a:gd name="T83" fmla="*/ 100 h 136"/>
              <a:gd name="T84" fmla="*/ 95 w 137"/>
              <a:gd name="T85" fmla="*/ 122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37" h="136">
                <a:moveTo>
                  <a:pt x="69" y="0"/>
                </a:moveTo>
                <a:cubicBezTo>
                  <a:pt x="31" y="0"/>
                  <a:pt x="0" y="30"/>
                  <a:pt x="0" y="68"/>
                </a:cubicBezTo>
                <a:cubicBezTo>
                  <a:pt x="0" y="105"/>
                  <a:pt x="31" y="136"/>
                  <a:pt x="69" y="136"/>
                </a:cubicBezTo>
                <a:cubicBezTo>
                  <a:pt x="107" y="136"/>
                  <a:pt x="137" y="105"/>
                  <a:pt x="137" y="68"/>
                </a:cubicBezTo>
                <a:cubicBezTo>
                  <a:pt x="137" y="30"/>
                  <a:pt x="107" y="0"/>
                  <a:pt x="69" y="0"/>
                </a:cubicBezTo>
                <a:close/>
                <a:moveTo>
                  <a:pt x="9" y="71"/>
                </a:moveTo>
                <a:cubicBezTo>
                  <a:pt x="29" y="71"/>
                  <a:pt x="29" y="71"/>
                  <a:pt x="29" y="71"/>
                </a:cubicBezTo>
                <a:cubicBezTo>
                  <a:pt x="29" y="80"/>
                  <a:pt x="30" y="87"/>
                  <a:pt x="32" y="94"/>
                </a:cubicBezTo>
                <a:cubicBezTo>
                  <a:pt x="15" y="94"/>
                  <a:pt x="15" y="94"/>
                  <a:pt x="15" y="94"/>
                </a:cubicBezTo>
                <a:cubicBezTo>
                  <a:pt x="11" y="87"/>
                  <a:pt x="9" y="79"/>
                  <a:pt x="9" y="71"/>
                </a:cubicBezTo>
                <a:close/>
                <a:moveTo>
                  <a:pt x="38" y="62"/>
                </a:moveTo>
                <a:cubicBezTo>
                  <a:pt x="38" y="55"/>
                  <a:pt x="39" y="48"/>
                  <a:pt x="41" y="42"/>
                </a:cubicBezTo>
                <a:cubicBezTo>
                  <a:pt x="64" y="42"/>
                  <a:pt x="64" y="42"/>
                  <a:pt x="64" y="42"/>
                </a:cubicBezTo>
                <a:cubicBezTo>
                  <a:pt x="64" y="65"/>
                  <a:pt x="64" y="65"/>
                  <a:pt x="64" y="65"/>
                </a:cubicBezTo>
                <a:cubicBezTo>
                  <a:pt x="38" y="65"/>
                  <a:pt x="38" y="65"/>
                  <a:pt x="38" y="65"/>
                </a:cubicBezTo>
                <a:cubicBezTo>
                  <a:pt x="38" y="64"/>
                  <a:pt x="38" y="63"/>
                  <a:pt x="38" y="62"/>
                </a:cubicBezTo>
                <a:close/>
                <a:moveTo>
                  <a:pt x="29" y="65"/>
                </a:moveTo>
                <a:cubicBezTo>
                  <a:pt x="9" y="65"/>
                  <a:pt x="9" y="65"/>
                  <a:pt x="9" y="65"/>
                </a:cubicBezTo>
                <a:cubicBezTo>
                  <a:pt x="9" y="57"/>
                  <a:pt x="11" y="49"/>
                  <a:pt x="14" y="42"/>
                </a:cubicBezTo>
                <a:cubicBezTo>
                  <a:pt x="31" y="42"/>
                  <a:pt x="31" y="42"/>
                  <a:pt x="31" y="42"/>
                </a:cubicBezTo>
                <a:cubicBezTo>
                  <a:pt x="30" y="49"/>
                  <a:pt x="29" y="56"/>
                  <a:pt x="29" y="63"/>
                </a:cubicBezTo>
                <a:cubicBezTo>
                  <a:pt x="29" y="64"/>
                  <a:pt x="29" y="64"/>
                  <a:pt x="29" y="65"/>
                </a:cubicBezTo>
                <a:close/>
                <a:moveTo>
                  <a:pt x="38" y="71"/>
                </a:moveTo>
                <a:cubicBezTo>
                  <a:pt x="64" y="71"/>
                  <a:pt x="64" y="71"/>
                  <a:pt x="64" y="71"/>
                </a:cubicBezTo>
                <a:cubicBezTo>
                  <a:pt x="64" y="94"/>
                  <a:pt x="64" y="94"/>
                  <a:pt x="64" y="94"/>
                </a:cubicBezTo>
                <a:cubicBezTo>
                  <a:pt x="41" y="94"/>
                  <a:pt x="41" y="94"/>
                  <a:pt x="41" y="94"/>
                </a:cubicBezTo>
                <a:cubicBezTo>
                  <a:pt x="40" y="87"/>
                  <a:pt x="39" y="80"/>
                  <a:pt x="38" y="71"/>
                </a:cubicBezTo>
                <a:close/>
                <a:moveTo>
                  <a:pt x="100" y="62"/>
                </a:moveTo>
                <a:cubicBezTo>
                  <a:pt x="100" y="63"/>
                  <a:pt x="100" y="64"/>
                  <a:pt x="100" y="65"/>
                </a:cubicBezTo>
                <a:cubicBezTo>
                  <a:pt x="73" y="65"/>
                  <a:pt x="73" y="65"/>
                  <a:pt x="73" y="65"/>
                </a:cubicBezTo>
                <a:cubicBezTo>
                  <a:pt x="73" y="42"/>
                  <a:pt x="73" y="42"/>
                  <a:pt x="73" y="42"/>
                </a:cubicBezTo>
                <a:cubicBezTo>
                  <a:pt x="97" y="42"/>
                  <a:pt x="97" y="42"/>
                  <a:pt x="97" y="42"/>
                </a:cubicBezTo>
                <a:cubicBezTo>
                  <a:pt x="99" y="48"/>
                  <a:pt x="100" y="55"/>
                  <a:pt x="100" y="62"/>
                </a:cubicBezTo>
                <a:close/>
                <a:moveTo>
                  <a:pt x="73" y="71"/>
                </a:moveTo>
                <a:cubicBezTo>
                  <a:pt x="100" y="71"/>
                  <a:pt x="100" y="71"/>
                  <a:pt x="100" y="71"/>
                </a:cubicBezTo>
                <a:cubicBezTo>
                  <a:pt x="99" y="80"/>
                  <a:pt x="98" y="87"/>
                  <a:pt x="97" y="94"/>
                </a:cubicBezTo>
                <a:cubicBezTo>
                  <a:pt x="73" y="94"/>
                  <a:pt x="73" y="94"/>
                  <a:pt x="73" y="94"/>
                </a:cubicBezTo>
                <a:lnTo>
                  <a:pt x="73" y="71"/>
                </a:lnTo>
                <a:close/>
                <a:moveTo>
                  <a:pt x="109" y="71"/>
                </a:moveTo>
                <a:cubicBezTo>
                  <a:pt x="129" y="71"/>
                  <a:pt x="129" y="71"/>
                  <a:pt x="129" y="71"/>
                </a:cubicBezTo>
                <a:cubicBezTo>
                  <a:pt x="128" y="79"/>
                  <a:pt x="126" y="87"/>
                  <a:pt x="123" y="94"/>
                </a:cubicBezTo>
                <a:cubicBezTo>
                  <a:pt x="106" y="94"/>
                  <a:pt x="106" y="94"/>
                  <a:pt x="106" y="94"/>
                </a:cubicBezTo>
                <a:cubicBezTo>
                  <a:pt x="108" y="87"/>
                  <a:pt x="109" y="80"/>
                  <a:pt x="109" y="71"/>
                </a:cubicBezTo>
                <a:close/>
                <a:moveTo>
                  <a:pt x="109" y="65"/>
                </a:moveTo>
                <a:cubicBezTo>
                  <a:pt x="109" y="64"/>
                  <a:pt x="109" y="64"/>
                  <a:pt x="109" y="63"/>
                </a:cubicBezTo>
                <a:cubicBezTo>
                  <a:pt x="109" y="56"/>
                  <a:pt x="108" y="49"/>
                  <a:pt x="107" y="42"/>
                </a:cubicBezTo>
                <a:cubicBezTo>
                  <a:pt x="123" y="42"/>
                  <a:pt x="123" y="42"/>
                  <a:pt x="123" y="42"/>
                </a:cubicBezTo>
                <a:cubicBezTo>
                  <a:pt x="127" y="49"/>
                  <a:pt x="129" y="57"/>
                  <a:pt x="129" y="65"/>
                </a:cubicBezTo>
                <a:lnTo>
                  <a:pt x="109" y="65"/>
                </a:lnTo>
                <a:close/>
                <a:moveTo>
                  <a:pt x="120" y="36"/>
                </a:moveTo>
                <a:cubicBezTo>
                  <a:pt x="105" y="36"/>
                  <a:pt x="105" y="36"/>
                  <a:pt x="105" y="36"/>
                </a:cubicBezTo>
                <a:cubicBezTo>
                  <a:pt x="102" y="27"/>
                  <a:pt x="98" y="18"/>
                  <a:pt x="94" y="13"/>
                </a:cubicBezTo>
                <a:cubicBezTo>
                  <a:pt x="105" y="18"/>
                  <a:pt x="114" y="27"/>
                  <a:pt x="120" y="36"/>
                </a:cubicBezTo>
                <a:close/>
                <a:moveTo>
                  <a:pt x="96" y="36"/>
                </a:moveTo>
                <a:cubicBezTo>
                  <a:pt x="73" y="36"/>
                  <a:pt x="73" y="36"/>
                  <a:pt x="73" y="36"/>
                </a:cubicBezTo>
                <a:cubicBezTo>
                  <a:pt x="73" y="9"/>
                  <a:pt x="73" y="9"/>
                  <a:pt x="73" y="9"/>
                </a:cubicBezTo>
                <a:cubicBezTo>
                  <a:pt x="77" y="11"/>
                  <a:pt x="89" y="16"/>
                  <a:pt x="96" y="36"/>
                </a:cubicBezTo>
                <a:close/>
                <a:moveTo>
                  <a:pt x="73" y="8"/>
                </a:moveTo>
                <a:cubicBezTo>
                  <a:pt x="73" y="8"/>
                  <a:pt x="73" y="8"/>
                  <a:pt x="73" y="8"/>
                </a:cubicBezTo>
                <a:cubicBezTo>
                  <a:pt x="73" y="8"/>
                  <a:pt x="73" y="8"/>
                  <a:pt x="73" y="8"/>
                </a:cubicBezTo>
                <a:close/>
                <a:moveTo>
                  <a:pt x="64" y="10"/>
                </a:moveTo>
                <a:cubicBezTo>
                  <a:pt x="64" y="36"/>
                  <a:pt x="64" y="36"/>
                  <a:pt x="64" y="36"/>
                </a:cubicBezTo>
                <a:cubicBezTo>
                  <a:pt x="42" y="36"/>
                  <a:pt x="42" y="36"/>
                  <a:pt x="42" y="36"/>
                </a:cubicBezTo>
                <a:cubicBezTo>
                  <a:pt x="49" y="17"/>
                  <a:pt x="60" y="11"/>
                  <a:pt x="64" y="10"/>
                </a:cubicBezTo>
                <a:close/>
                <a:moveTo>
                  <a:pt x="44" y="13"/>
                </a:moveTo>
                <a:cubicBezTo>
                  <a:pt x="41" y="18"/>
                  <a:pt x="36" y="26"/>
                  <a:pt x="33" y="36"/>
                </a:cubicBezTo>
                <a:cubicBezTo>
                  <a:pt x="18" y="36"/>
                  <a:pt x="18" y="36"/>
                  <a:pt x="18" y="36"/>
                </a:cubicBezTo>
                <a:cubicBezTo>
                  <a:pt x="24" y="26"/>
                  <a:pt x="33" y="18"/>
                  <a:pt x="44" y="13"/>
                </a:cubicBezTo>
                <a:close/>
                <a:moveTo>
                  <a:pt x="18" y="100"/>
                </a:moveTo>
                <a:cubicBezTo>
                  <a:pt x="34" y="100"/>
                  <a:pt x="34" y="100"/>
                  <a:pt x="34" y="100"/>
                </a:cubicBezTo>
                <a:cubicBezTo>
                  <a:pt x="37" y="110"/>
                  <a:pt x="41" y="117"/>
                  <a:pt x="43" y="122"/>
                </a:cubicBezTo>
                <a:cubicBezTo>
                  <a:pt x="33" y="117"/>
                  <a:pt x="24" y="109"/>
                  <a:pt x="18" y="100"/>
                </a:cubicBezTo>
                <a:close/>
                <a:moveTo>
                  <a:pt x="43" y="100"/>
                </a:moveTo>
                <a:cubicBezTo>
                  <a:pt x="64" y="100"/>
                  <a:pt x="64" y="100"/>
                  <a:pt x="64" y="100"/>
                </a:cubicBezTo>
                <a:cubicBezTo>
                  <a:pt x="64" y="127"/>
                  <a:pt x="64" y="127"/>
                  <a:pt x="64" y="127"/>
                </a:cubicBezTo>
                <a:cubicBezTo>
                  <a:pt x="64" y="127"/>
                  <a:pt x="63" y="127"/>
                  <a:pt x="63" y="127"/>
                </a:cubicBezTo>
                <a:cubicBezTo>
                  <a:pt x="59" y="125"/>
                  <a:pt x="49" y="118"/>
                  <a:pt x="43" y="100"/>
                </a:cubicBezTo>
                <a:close/>
                <a:moveTo>
                  <a:pt x="75" y="127"/>
                </a:moveTo>
                <a:cubicBezTo>
                  <a:pt x="74" y="127"/>
                  <a:pt x="74" y="127"/>
                  <a:pt x="73" y="127"/>
                </a:cubicBezTo>
                <a:cubicBezTo>
                  <a:pt x="73" y="100"/>
                  <a:pt x="73" y="100"/>
                  <a:pt x="73" y="100"/>
                </a:cubicBezTo>
                <a:cubicBezTo>
                  <a:pt x="95" y="100"/>
                  <a:pt x="95" y="100"/>
                  <a:pt x="95" y="100"/>
                </a:cubicBezTo>
                <a:cubicBezTo>
                  <a:pt x="89" y="118"/>
                  <a:pt x="79" y="125"/>
                  <a:pt x="75" y="127"/>
                </a:cubicBezTo>
                <a:close/>
                <a:moveTo>
                  <a:pt x="95" y="122"/>
                </a:moveTo>
                <a:cubicBezTo>
                  <a:pt x="98" y="117"/>
                  <a:pt x="101" y="110"/>
                  <a:pt x="104" y="100"/>
                </a:cubicBezTo>
                <a:cubicBezTo>
                  <a:pt x="120" y="100"/>
                  <a:pt x="120" y="100"/>
                  <a:pt x="120" y="100"/>
                </a:cubicBezTo>
                <a:cubicBezTo>
                  <a:pt x="114" y="109"/>
                  <a:pt x="105" y="117"/>
                  <a:pt x="95" y="122"/>
                </a:cubicBezTo>
                <a:close/>
              </a:path>
            </a:pathLst>
          </a:custGeom>
          <a:solidFill>
            <a:srgbClr val="D3072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137" name="Group 12526">
            <a:extLst>
              <a:ext uri="{FF2B5EF4-FFF2-40B4-BE49-F238E27FC236}">
                <a16:creationId xmlns:a16="http://schemas.microsoft.com/office/drawing/2014/main" id="{D66AAB6F-01AB-461F-8AA1-7DD9F0348930}"/>
              </a:ext>
            </a:extLst>
          </p:cNvPr>
          <p:cNvGrpSpPr/>
          <p:nvPr userDrawn="1"/>
        </p:nvGrpSpPr>
        <p:grpSpPr>
          <a:xfrm>
            <a:off x="2521429" y="3619884"/>
            <a:ext cx="434179" cy="430184"/>
            <a:chOff x="2127250" y="4249738"/>
            <a:chExt cx="517525" cy="512763"/>
          </a:xfrm>
        </p:grpSpPr>
        <p:sp>
          <p:nvSpPr>
            <p:cNvPr id="138" name="Freeform 111">
              <a:extLst>
                <a:ext uri="{FF2B5EF4-FFF2-40B4-BE49-F238E27FC236}">
                  <a16:creationId xmlns:a16="http://schemas.microsoft.com/office/drawing/2014/main" id="{A80E5577-E0DE-493E-9F3C-02E29F275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4725" y="4249738"/>
              <a:ext cx="400050" cy="512763"/>
            </a:xfrm>
            <a:custGeom>
              <a:avLst/>
              <a:gdLst>
                <a:gd name="T0" fmla="*/ 38 w 107"/>
                <a:gd name="T1" fmla="*/ 0 h 137"/>
                <a:gd name="T2" fmla="*/ 0 w 107"/>
                <a:gd name="T3" fmla="*/ 69 h 137"/>
                <a:gd name="T4" fmla="*/ 38 w 107"/>
                <a:gd name="T5" fmla="*/ 137 h 137"/>
                <a:gd name="T6" fmla="*/ 107 w 107"/>
                <a:gd name="T7" fmla="*/ 69 h 137"/>
                <a:gd name="T8" fmla="*/ 38 w 107"/>
                <a:gd name="T9" fmla="*/ 0 h 137"/>
                <a:gd name="T10" fmla="*/ 7 w 107"/>
                <a:gd name="T11" fmla="*/ 72 h 137"/>
                <a:gd name="T12" fmla="*/ 34 w 107"/>
                <a:gd name="T13" fmla="*/ 72 h 137"/>
                <a:gd name="T14" fmla="*/ 34 w 107"/>
                <a:gd name="T15" fmla="*/ 96 h 137"/>
                <a:gd name="T16" fmla="*/ 12 w 107"/>
                <a:gd name="T17" fmla="*/ 96 h 137"/>
                <a:gd name="T18" fmla="*/ 7 w 107"/>
                <a:gd name="T19" fmla="*/ 72 h 137"/>
                <a:gd name="T20" fmla="*/ 7 w 107"/>
                <a:gd name="T21" fmla="*/ 68 h 137"/>
                <a:gd name="T22" fmla="*/ 11 w 107"/>
                <a:gd name="T23" fmla="*/ 44 h 137"/>
                <a:gd name="T24" fmla="*/ 34 w 107"/>
                <a:gd name="T25" fmla="*/ 44 h 137"/>
                <a:gd name="T26" fmla="*/ 34 w 107"/>
                <a:gd name="T27" fmla="*/ 68 h 137"/>
                <a:gd name="T28" fmla="*/ 7 w 107"/>
                <a:gd name="T29" fmla="*/ 68 h 137"/>
                <a:gd name="T30" fmla="*/ 42 w 107"/>
                <a:gd name="T31" fmla="*/ 44 h 137"/>
                <a:gd name="T32" fmla="*/ 63 w 107"/>
                <a:gd name="T33" fmla="*/ 44 h 137"/>
                <a:gd name="T34" fmla="*/ 66 w 107"/>
                <a:gd name="T35" fmla="*/ 68 h 137"/>
                <a:gd name="T36" fmla="*/ 42 w 107"/>
                <a:gd name="T37" fmla="*/ 68 h 137"/>
                <a:gd name="T38" fmla="*/ 42 w 107"/>
                <a:gd name="T39" fmla="*/ 44 h 137"/>
                <a:gd name="T40" fmla="*/ 42 w 107"/>
                <a:gd name="T41" fmla="*/ 72 h 137"/>
                <a:gd name="T42" fmla="*/ 66 w 107"/>
                <a:gd name="T43" fmla="*/ 72 h 137"/>
                <a:gd name="T44" fmla="*/ 62 w 107"/>
                <a:gd name="T45" fmla="*/ 96 h 137"/>
                <a:gd name="T46" fmla="*/ 42 w 107"/>
                <a:gd name="T47" fmla="*/ 96 h 137"/>
                <a:gd name="T48" fmla="*/ 42 w 107"/>
                <a:gd name="T49" fmla="*/ 72 h 137"/>
                <a:gd name="T50" fmla="*/ 75 w 107"/>
                <a:gd name="T51" fmla="*/ 72 h 137"/>
                <a:gd name="T52" fmla="*/ 98 w 107"/>
                <a:gd name="T53" fmla="*/ 72 h 137"/>
                <a:gd name="T54" fmla="*/ 92 w 107"/>
                <a:gd name="T55" fmla="*/ 96 h 137"/>
                <a:gd name="T56" fmla="*/ 71 w 107"/>
                <a:gd name="T57" fmla="*/ 96 h 137"/>
                <a:gd name="T58" fmla="*/ 75 w 107"/>
                <a:gd name="T59" fmla="*/ 72 h 137"/>
                <a:gd name="T60" fmla="*/ 75 w 107"/>
                <a:gd name="T61" fmla="*/ 68 h 137"/>
                <a:gd name="T62" fmla="*/ 72 w 107"/>
                <a:gd name="T63" fmla="*/ 44 h 137"/>
                <a:gd name="T64" fmla="*/ 93 w 107"/>
                <a:gd name="T65" fmla="*/ 44 h 137"/>
                <a:gd name="T66" fmla="*/ 99 w 107"/>
                <a:gd name="T67" fmla="*/ 68 h 137"/>
                <a:gd name="T68" fmla="*/ 75 w 107"/>
                <a:gd name="T69" fmla="*/ 68 h 137"/>
                <a:gd name="T70" fmla="*/ 91 w 107"/>
                <a:gd name="T71" fmla="*/ 39 h 137"/>
                <a:gd name="T72" fmla="*/ 71 w 107"/>
                <a:gd name="T73" fmla="*/ 39 h 137"/>
                <a:gd name="T74" fmla="*/ 57 w 107"/>
                <a:gd name="T75" fmla="*/ 12 h 137"/>
                <a:gd name="T76" fmla="*/ 91 w 107"/>
                <a:gd name="T77" fmla="*/ 39 h 137"/>
                <a:gd name="T78" fmla="*/ 61 w 107"/>
                <a:gd name="T79" fmla="*/ 39 h 137"/>
                <a:gd name="T80" fmla="*/ 42 w 107"/>
                <a:gd name="T81" fmla="*/ 39 h 137"/>
                <a:gd name="T82" fmla="*/ 42 w 107"/>
                <a:gd name="T83" fmla="*/ 11 h 137"/>
                <a:gd name="T84" fmla="*/ 61 w 107"/>
                <a:gd name="T85" fmla="*/ 39 h 137"/>
                <a:gd name="T86" fmla="*/ 34 w 107"/>
                <a:gd name="T87" fmla="*/ 12 h 137"/>
                <a:gd name="T88" fmla="*/ 34 w 107"/>
                <a:gd name="T89" fmla="*/ 39 h 137"/>
                <a:gd name="T90" fmla="*/ 12 w 107"/>
                <a:gd name="T91" fmla="*/ 39 h 137"/>
                <a:gd name="T92" fmla="*/ 34 w 107"/>
                <a:gd name="T93" fmla="*/ 12 h 137"/>
                <a:gd name="T94" fmla="*/ 14 w 107"/>
                <a:gd name="T95" fmla="*/ 101 h 137"/>
                <a:gd name="T96" fmla="*/ 34 w 107"/>
                <a:gd name="T97" fmla="*/ 101 h 137"/>
                <a:gd name="T98" fmla="*/ 34 w 107"/>
                <a:gd name="T99" fmla="*/ 126 h 137"/>
                <a:gd name="T100" fmla="*/ 14 w 107"/>
                <a:gd name="T101" fmla="*/ 101 h 137"/>
                <a:gd name="T102" fmla="*/ 42 w 107"/>
                <a:gd name="T103" fmla="*/ 126 h 137"/>
                <a:gd name="T104" fmla="*/ 42 w 107"/>
                <a:gd name="T105" fmla="*/ 101 h 137"/>
                <a:gd name="T106" fmla="*/ 60 w 107"/>
                <a:gd name="T107" fmla="*/ 101 h 137"/>
                <a:gd name="T108" fmla="*/ 42 w 107"/>
                <a:gd name="T109" fmla="*/ 126 h 137"/>
                <a:gd name="T110" fmla="*/ 55 w 107"/>
                <a:gd name="T111" fmla="*/ 126 h 137"/>
                <a:gd name="T112" fmla="*/ 69 w 107"/>
                <a:gd name="T113" fmla="*/ 101 h 137"/>
                <a:gd name="T114" fmla="*/ 89 w 107"/>
                <a:gd name="T115" fmla="*/ 101 h 137"/>
                <a:gd name="T116" fmla="*/ 55 w 107"/>
                <a:gd name="T117" fmla="*/ 12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7" h="137">
                  <a:moveTo>
                    <a:pt x="38" y="0"/>
                  </a:moveTo>
                  <a:cubicBezTo>
                    <a:pt x="26" y="0"/>
                    <a:pt x="0" y="25"/>
                    <a:pt x="0" y="69"/>
                  </a:cubicBezTo>
                  <a:cubicBezTo>
                    <a:pt x="0" y="108"/>
                    <a:pt x="23" y="137"/>
                    <a:pt x="38" y="137"/>
                  </a:cubicBezTo>
                  <a:cubicBezTo>
                    <a:pt x="76" y="137"/>
                    <a:pt x="107" y="107"/>
                    <a:pt x="107" y="69"/>
                  </a:cubicBezTo>
                  <a:cubicBezTo>
                    <a:pt x="107" y="31"/>
                    <a:pt x="76" y="0"/>
                    <a:pt x="38" y="0"/>
                  </a:cubicBezTo>
                  <a:close/>
                  <a:moveTo>
                    <a:pt x="7" y="72"/>
                  </a:moveTo>
                  <a:cubicBezTo>
                    <a:pt x="34" y="72"/>
                    <a:pt x="34" y="72"/>
                    <a:pt x="34" y="72"/>
                  </a:cubicBezTo>
                  <a:cubicBezTo>
                    <a:pt x="34" y="96"/>
                    <a:pt x="34" y="96"/>
                    <a:pt x="34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9" y="89"/>
                    <a:pt x="7" y="81"/>
                    <a:pt x="7" y="72"/>
                  </a:cubicBezTo>
                  <a:close/>
                  <a:moveTo>
                    <a:pt x="7" y="68"/>
                  </a:moveTo>
                  <a:cubicBezTo>
                    <a:pt x="7" y="59"/>
                    <a:pt x="9" y="51"/>
                    <a:pt x="11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68"/>
                    <a:pt x="34" y="68"/>
                    <a:pt x="34" y="68"/>
                  </a:cubicBezTo>
                  <a:lnTo>
                    <a:pt x="7" y="68"/>
                  </a:lnTo>
                  <a:close/>
                  <a:moveTo>
                    <a:pt x="42" y="44"/>
                  </a:moveTo>
                  <a:cubicBezTo>
                    <a:pt x="63" y="44"/>
                    <a:pt x="63" y="44"/>
                    <a:pt x="63" y="44"/>
                  </a:cubicBezTo>
                  <a:cubicBezTo>
                    <a:pt x="65" y="51"/>
                    <a:pt x="66" y="59"/>
                    <a:pt x="66" y="68"/>
                  </a:cubicBezTo>
                  <a:cubicBezTo>
                    <a:pt x="42" y="68"/>
                    <a:pt x="42" y="68"/>
                    <a:pt x="42" y="68"/>
                  </a:cubicBezTo>
                  <a:lnTo>
                    <a:pt x="42" y="44"/>
                  </a:lnTo>
                  <a:close/>
                  <a:moveTo>
                    <a:pt x="42" y="72"/>
                  </a:moveTo>
                  <a:cubicBezTo>
                    <a:pt x="66" y="72"/>
                    <a:pt x="66" y="72"/>
                    <a:pt x="66" y="72"/>
                  </a:cubicBezTo>
                  <a:cubicBezTo>
                    <a:pt x="66" y="81"/>
                    <a:pt x="65" y="89"/>
                    <a:pt x="62" y="96"/>
                  </a:cubicBezTo>
                  <a:cubicBezTo>
                    <a:pt x="42" y="96"/>
                    <a:pt x="42" y="96"/>
                    <a:pt x="42" y="96"/>
                  </a:cubicBezTo>
                  <a:lnTo>
                    <a:pt x="42" y="72"/>
                  </a:lnTo>
                  <a:close/>
                  <a:moveTo>
                    <a:pt x="75" y="72"/>
                  </a:moveTo>
                  <a:cubicBezTo>
                    <a:pt x="98" y="72"/>
                    <a:pt x="98" y="72"/>
                    <a:pt x="98" y="72"/>
                  </a:cubicBezTo>
                  <a:cubicBezTo>
                    <a:pt x="98" y="81"/>
                    <a:pt x="96" y="89"/>
                    <a:pt x="92" y="96"/>
                  </a:cubicBezTo>
                  <a:cubicBezTo>
                    <a:pt x="71" y="96"/>
                    <a:pt x="71" y="96"/>
                    <a:pt x="71" y="96"/>
                  </a:cubicBezTo>
                  <a:cubicBezTo>
                    <a:pt x="73" y="89"/>
                    <a:pt x="75" y="81"/>
                    <a:pt x="75" y="72"/>
                  </a:cubicBezTo>
                  <a:close/>
                  <a:moveTo>
                    <a:pt x="75" y="68"/>
                  </a:moveTo>
                  <a:cubicBezTo>
                    <a:pt x="75" y="59"/>
                    <a:pt x="74" y="51"/>
                    <a:pt x="72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7" y="52"/>
                    <a:pt x="98" y="59"/>
                    <a:pt x="99" y="68"/>
                  </a:cubicBezTo>
                  <a:lnTo>
                    <a:pt x="75" y="68"/>
                  </a:lnTo>
                  <a:close/>
                  <a:moveTo>
                    <a:pt x="91" y="39"/>
                  </a:moveTo>
                  <a:cubicBezTo>
                    <a:pt x="71" y="39"/>
                    <a:pt x="71" y="39"/>
                    <a:pt x="71" y="39"/>
                  </a:cubicBezTo>
                  <a:cubicBezTo>
                    <a:pt x="67" y="26"/>
                    <a:pt x="61" y="17"/>
                    <a:pt x="57" y="12"/>
                  </a:cubicBezTo>
                  <a:cubicBezTo>
                    <a:pt x="71" y="17"/>
                    <a:pt x="83" y="27"/>
                    <a:pt x="91" y="39"/>
                  </a:cubicBezTo>
                  <a:close/>
                  <a:moveTo>
                    <a:pt x="61" y="39"/>
                  </a:moveTo>
                  <a:cubicBezTo>
                    <a:pt x="42" y="39"/>
                    <a:pt x="42" y="39"/>
                    <a:pt x="42" y="39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6" y="14"/>
                    <a:pt x="55" y="23"/>
                    <a:pt x="61" y="39"/>
                  </a:cubicBezTo>
                  <a:close/>
                  <a:moveTo>
                    <a:pt x="34" y="12"/>
                  </a:moveTo>
                  <a:cubicBezTo>
                    <a:pt x="34" y="39"/>
                    <a:pt x="34" y="39"/>
                    <a:pt x="34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8" y="25"/>
                    <a:pt x="26" y="16"/>
                    <a:pt x="34" y="12"/>
                  </a:cubicBezTo>
                  <a:close/>
                  <a:moveTo>
                    <a:pt x="14" y="101"/>
                  </a:moveTo>
                  <a:cubicBezTo>
                    <a:pt x="34" y="101"/>
                    <a:pt x="34" y="101"/>
                    <a:pt x="34" y="101"/>
                  </a:cubicBezTo>
                  <a:cubicBezTo>
                    <a:pt x="34" y="126"/>
                    <a:pt x="34" y="126"/>
                    <a:pt x="34" y="126"/>
                  </a:cubicBezTo>
                  <a:cubicBezTo>
                    <a:pt x="26" y="122"/>
                    <a:pt x="19" y="114"/>
                    <a:pt x="14" y="101"/>
                  </a:cubicBezTo>
                  <a:close/>
                  <a:moveTo>
                    <a:pt x="42" y="126"/>
                  </a:moveTo>
                  <a:cubicBezTo>
                    <a:pt x="42" y="101"/>
                    <a:pt x="42" y="101"/>
                    <a:pt x="42" y="101"/>
                  </a:cubicBezTo>
                  <a:cubicBezTo>
                    <a:pt x="60" y="101"/>
                    <a:pt x="60" y="101"/>
                    <a:pt x="60" y="101"/>
                  </a:cubicBezTo>
                  <a:cubicBezTo>
                    <a:pt x="54" y="115"/>
                    <a:pt x="46" y="123"/>
                    <a:pt x="42" y="126"/>
                  </a:cubicBezTo>
                  <a:close/>
                  <a:moveTo>
                    <a:pt x="55" y="126"/>
                  </a:moveTo>
                  <a:cubicBezTo>
                    <a:pt x="59" y="121"/>
                    <a:pt x="65" y="113"/>
                    <a:pt x="69" y="101"/>
                  </a:cubicBezTo>
                  <a:cubicBezTo>
                    <a:pt x="89" y="101"/>
                    <a:pt x="89" y="101"/>
                    <a:pt x="89" y="101"/>
                  </a:cubicBezTo>
                  <a:cubicBezTo>
                    <a:pt x="81" y="113"/>
                    <a:pt x="69" y="122"/>
                    <a:pt x="55" y="126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 112">
              <a:extLst>
                <a:ext uri="{FF2B5EF4-FFF2-40B4-BE49-F238E27FC236}">
                  <a16:creationId xmlns:a16="http://schemas.microsoft.com/office/drawing/2014/main" id="{D460B91B-CAEF-46DE-902E-7A7314847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7250" y="4264025"/>
              <a:ext cx="180975" cy="487363"/>
            </a:xfrm>
            <a:custGeom>
              <a:avLst/>
              <a:gdLst>
                <a:gd name="T0" fmla="*/ 21 w 48"/>
                <a:gd name="T1" fmla="*/ 65 h 130"/>
                <a:gd name="T2" fmla="*/ 48 w 48"/>
                <a:gd name="T3" fmla="*/ 0 h 130"/>
                <a:gd name="T4" fmla="*/ 0 w 48"/>
                <a:gd name="T5" fmla="*/ 65 h 130"/>
                <a:gd name="T6" fmla="*/ 48 w 48"/>
                <a:gd name="T7" fmla="*/ 130 h 130"/>
                <a:gd name="T8" fmla="*/ 21 w 48"/>
                <a:gd name="T9" fmla="*/ 65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30">
                  <a:moveTo>
                    <a:pt x="21" y="65"/>
                  </a:moveTo>
                  <a:cubicBezTo>
                    <a:pt x="21" y="37"/>
                    <a:pt x="32" y="13"/>
                    <a:pt x="48" y="0"/>
                  </a:cubicBezTo>
                  <a:cubicBezTo>
                    <a:pt x="20" y="8"/>
                    <a:pt x="0" y="34"/>
                    <a:pt x="0" y="65"/>
                  </a:cubicBezTo>
                  <a:cubicBezTo>
                    <a:pt x="0" y="95"/>
                    <a:pt x="20" y="121"/>
                    <a:pt x="48" y="130"/>
                  </a:cubicBezTo>
                  <a:cubicBezTo>
                    <a:pt x="32" y="117"/>
                    <a:pt x="21" y="93"/>
                    <a:pt x="21" y="65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0" name="Group 12525">
            <a:extLst>
              <a:ext uri="{FF2B5EF4-FFF2-40B4-BE49-F238E27FC236}">
                <a16:creationId xmlns:a16="http://schemas.microsoft.com/office/drawing/2014/main" id="{E95E5E1B-1BBA-461C-99FE-715DB1B2C242}"/>
              </a:ext>
            </a:extLst>
          </p:cNvPr>
          <p:cNvGrpSpPr/>
          <p:nvPr userDrawn="1"/>
        </p:nvGrpSpPr>
        <p:grpSpPr>
          <a:xfrm>
            <a:off x="3464104" y="3608046"/>
            <a:ext cx="376910" cy="459484"/>
            <a:chOff x="3282950" y="4249738"/>
            <a:chExt cx="449263" cy="547688"/>
          </a:xfrm>
        </p:grpSpPr>
        <p:sp>
          <p:nvSpPr>
            <p:cNvPr id="141" name="Freeform 113">
              <a:extLst>
                <a:ext uri="{FF2B5EF4-FFF2-40B4-BE49-F238E27FC236}">
                  <a16:creationId xmlns:a16="http://schemas.microsoft.com/office/drawing/2014/main" id="{6DF6941A-2E66-42D8-81BF-E0AFCCA09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0887" y="4260850"/>
              <a:ext cx="152400" cy="415925"/>
            </a:xfrm>
            <a:custGeom>
              <a:avLst/>
              <a:gdLst>
                <a:gd name="T0" fmla="*/ 18 w 41"/>
                <a:gd name="T1" fmla="*/ 55 h 111"/>
                <a:gd name="T2" fmla="*/ 41 w 41"/>
                <a:gd name="T3" fmla="*/ 0 h 111"/>
                <a:gd name="T4" fmla="*/ 0 w 41"/>
                <a:gd name="T5" fmla="*/ 55 h 111"/>
                <a:gd name="T6" fmla="*/ 41 w 41"/>
                <a:gd name="T7" fmla="*/ 111 h 111"/>
                <a:gd name="T8" fmla="*/ 18 w 41"/>
                <a:gd name="T9" fmla="*/ 5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11">
                  <a:moveTo>
                    <a:pt x="18" y="55"/>
                  </a:moveTo>
                  <a:cubicBezTo>
                    <a:pt x="18" y="31"/>
                    <a:pt x="27" y="11"/>
                    <a:pt x="41" y="0"/>
                  </a:cubicBezTo>
                  <a:cubicBezTo>
                    <a:pt x="17" y="7"/>
                    <a:pt x="0" y="29"/>
                    <a:pt x="0" y="55"/>
                  </a:cubicBezTo>
                  <a:cubicBezTo>
                    <a:pt x="0" y="82"/>
                    <a:pt x="17" y="104"/>
                    <a:pt x="41" y="111"/>
                  </a:cubicBezTo>
                  <a:cubicBezTo>
                    <a:pt x="27" y="100"/>
                    <a:pt x="18" y="79"/>
                    <a:pt x="18" y="55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 114">
              <a:extLst>
                <a:ext uri="{FF2B5EF4-FFF2-40B4-BE49-F238E27FC236}">
                  <a16:creationId xmlns:a16="http://schemas.microsoft.com/office/drawing/2014/main" id="{717161E3-74E3-45C6-9D0E-7BF09AEC99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87725" y="4249738"/>
              <a:ext cx="344488" cy="547688"/>
            </a:xfrm>
            <a:custGeom>
              <a:avLst/>
              <a:gdLst>
                <a:gd name="T0" fmla="*/ 33 w 92"/>
                <a:gd name="T1" fmla="*/ 0 h 146"/>
                <a:gd name="T2" fmla="*/ 29 w 92"/>
                <a:gd name="T3" fmla="*/ 116 h 146"/>
                <a:gd name="T4" fmla="*/ 22 w 92"/>
                <a:gd name="T5" fmla="*/ 135 h 146"/>
                <a:gd name="T6" fmla="*/ 43 w 92"/>
                <a:gd name="T7" fmla="*/ 135 h 146"/>
                <a:gd name="T8" fmla="*/ 36 w 92"/>
                <a:gd name="T9" fmla="*/ 117 h 146"/>
                <a:gd name="T10" fmla="*/ 48 w 92"/>
                <a:gd name="T11" fmla="*/ 107 h 146"/>
                <a:gd name="T12" fmla="*/ 77 w 92"/>
                <a:gd name="T13" fmla="*/ 86 h 146"/>
                <a:gd name="T14" fmla="*/ 79 w 92"/>
                <a:gd name="T15" fmla="*/ 82 h 146"/>
                <a:gd name="T16" fmla="*/ 65 w 92"/>
                <a:gd name="T17" fmla="*/ 61 h 146"/>
                <a:gd name="T18" fmla="*/ 79 w 92"/>
                <a:gd name="T19" fmla="*/ 82 h 146"/>
                <a:gd name="T20" fmla="*/ 65 w 92"/>
                <a:gd name="T21" fmla="*/ 57 h 146"/>
                <a:gd name="T22" fmla="*/ 80 w 92"/>
                <a:gd name="T23" fmla="*/ 37 h 146"/>
                <a:gd name="T24" fmla="*/ 78 w 92"/>
                <a:gd name="T25" fmla="*/ 33 h 146"/>
                <a:gd name="T26" fmla="*/ 49 w 92"/>
                <a:gd name="T27" fmla="*/ 10 h 146"/>
                <a:gd name="T28" fmla="*/ 36 w 92"/>
                <a:gd name="T29" fmla="*/ 9 h 146"/>
                <a:gd name="T30" fmla="*/ 36 w 92"/>
                <a:gd name="T31" fmla="*/ 33 h 146"/>
                <a:gd name="T32" fmla="*/ 36 w 92"/>
                <a:gd name="T33" fmla="*/ 37 h 146"/>
                <a:gd name="T34" fmla="*/ 57 w 92"/>
                <a:gd name="T35" fmla="*/ 57 h 146"/>
                <a:gd name="T36" fmla="*/ 36 w 92"/>
                <a:gd name="T37" fmla="*/ 37 h 146"/>
                <a:gd name="T38" fmla="*/ 57 w 92"/>
                <a:gd name="T39" fmla="*/ 61 h 146"/>
                <a:gd name="T40" fmla="*/ 36 w 92"/>
                <a:gd name="T41" fmla="*/ 82 h 146"/>
                <a:gd name="T42" fmla="*/ 36 w 92"/>
                <a:gd name="T43" fmla="*/ 86 h 146"/>
                <a:gd name="T44" fmla="*/ 36 w 92"/>
                <a:gd name="T45" fmla="*/ 107 h 146"/>
                <a:gd name="T46" fmla="*/ 29 w 92"/>
                <a:gd name="T47" fmla="*/ 10 h 146"/>
                <a:gd name="T48" fmla="*/ 11 w 92"/>
                <a:gd name="T49" fmla="*/ 33 h 146"/>
                <a:gd name="T50" fmla="*/ 10 w 92"/>
                <a:gd name="T51" fmla="*/ 37 h 146"/>
                <a:gd name="T52" fmla="*/ 29 w 92"/>
                <a:gd name="T53" fmla="*/ 57 h 146"/>
                <a:gd name="T54" fmla="*/ 10 w 92"/>
                <a:gd name="T55" fmla="*/ 37 h 146"/>
                <a:gd name="T56" fmla="*/ 29 w 92"/>
                <a:gd name="T57" fmla="*/ 61 h 146"/>
                <a:gd name="T58" fmla="*/ 10 w 92"/>
                <a:gd name="T59" fmla="*/ 82 h 146"/>
                <a:gd name="T60" fmla="*/ 12 w 92"/>
                <a:gd name="T61" fmla="*/ 86 h 146"/>
                <a:gd name="T62" fmla="*/ 29 w 92"/>
                <a:gd name="T63" fmla="*/ 10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" h="146">
                  <a:moveTo>
                    <a:pt x="92" y="58"/>
                  </a:moveTo>
                  <a:cubicBezTo>
                    <a:pt x="92" y="26"/>
                    <a:pt x="66" y="0"/>
                    <a:pt x="33" y="0"/>
                  </a:cubicBezTo>
                  <a:cubicBezTo>
                    <a:pt x="23" y="0"/>
                    <a:pt x="0" y="21"/>
                    <a:pt x="0" y="58"/>
                  </a:cubicBezTo>
                  <a:cubicBezTo>
                    <a:pt x="0" y="88"/>
                    <a:pt x="16" y="112"/>
                    <a:pt x="29" y="116"/>
                  </a:cubicBezTo>
                  <a:cubicBezTo>
                    <a:pt x="29" y="125"/>
                    <a:pt x="29" y="125"/>
                    <a:pt x="29" y="125"/>
                  </a:cubicBezTo>
                  <a:cubicBezTo>
                    <a:pt x="24" y="127"/>
                    <a:pt x="22" y="131"/>
                    <a:pt x="22" y="135"/>
                  </a:cubicBezTo>
                  <a:cubicBezTo>
                    <a:pt x="22" y="141"/>
                    <a:pt x="26" y="146"/>
                    <a:pt x="32" y="146"/>
                  </a:cubicBezTo>
                  <a:cubicBezTo>
                    <a:pt x="38" y="146"/>
                    <a:pt x="43" y="141"/>
                    <a:pt x="43" y="135"/>
                  </a:cubicBezTo>
                  <a:cubicBezTo>
                    <a:pt x="43" y="131"/>
                    <a:pt x="40" y="127"/>
                    <a:pt x="36" y="125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67" y="116"/>
                    <a:pt x="92" y="90"/>
                    <a:pt x="92" y="58"/>
                  </a:cubicBezTo>
                  <a:close/>
                  <a:moveTo>
                    <a:pt x="48" y="107"/>
                  </a:moveTo>
                  <a:cubicBezTo>
                    <a:pt x="51" y="103"/>
                    <a:pt x="56" y="97"/>
                    <a:pt x="60" y="86"/>
                  </a:cubicBezTo>
                  <a:cubicBezTo>
                    <a:pt x="77" y="86"/>
                    <a:pt x="77" y="86"/>
                    <a:pt x="77" y="86"/>
                  </a:cubicBezTo>
                  <a:cubicBezTo>
                    <a:pt x="70" y="96"/>
                    <a:pt x="60" y="104"/>
                    <a:pt x="48" y="107"/>
                  </a:cubicBezTo>
                  <a:close/>
                  <a:moveTo>
                    <a:pt x="79" y="82"/>
                  </a:moveTo>
                  <a:cubicBezTo>
                    <a:pt x="61" y="82"/>
                    <a:pt x="61" y="82"/>
                    <a:pt x="61" y="82"/>
                  </a:cubicBezTo>
                  <a:cubicBezTo>
                    <a:pt x="63" y="76"/>
                    <a:pt x="64" y="69"/>
                    <a:pt x="6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8"/>
                    <a:pt x="83" y="76"/>
                    <a:pt x="79" y="82"/>
                  </a:cubicBezTo>
                  <a:close/>
                  <a:moveTo>
                    <a:pt x="85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50"/>
                    <a:pt x="64" y="43"/>
                    <a:pt x="62" y="37"/>
                  </a:cubicBezTo>
                  <a:cubicBezTo>
                    <a:pt x="80" y="37"/>
                    <a:pt x="80" y="37"/>
                    <a:pt x="80" y="37"/>
                  </a:cubicBezTo>
                  <a:cubicBezTo>
                    <a:pt x="83" y="44"/>
                    <a:pt x="85" y="50"/>
                    <a:pt x="85" y="57"/>
                  </a:cubicBezTo>
                  <a:close/>
                  <a:moveTo>
                    <a:pt x="78" y="33"/>
                  </a:moveTo>
                  <a:cubicBezTo>
                    <a:pt x="61" y="33"/>
                    <a:pt x="61" y="33"/>
                    <a:pt x="61" y="33"/>
                  </a:cubicBezTo>
                  <a:cubicBezTo>
                    <a:pt x="58" y="22"/>
                    <a:pt x="53" y="14"/>
                    <a:pt x="49" y="10"/>
                  </a:cubicBezTo>
                  <a:cubicBezTo>
                    <a:pt x="61" y="14"/>
                    <a:pt x="72" y="22"/>
                    <a:pt x="78" y="33"/>
                  </a:cubicBezTo>
                  <a:close/>
                  <a:moveTo>
                    <a:pt x="36" y="9"/>
                  </a:moveTo>
                  <a:cubicBezTo>
                    <a:pt x="40" y="11"/>
                    <a:pt x="48" y="19"/>
                    <a:pt x="53" y="33"/>
                  </a:cubicBezTo>
                  <a:cubicBezTo>
                    <a:pt x="36" y="33"/>
                    <a:pt x="36" y="33"/>
                    <a:pt x="36" y="33"/>
                  </a:cubicBezTo>
                  <a:lnTo>
                    <a:pt x="36" y="9"/>
                  </a:lnTo>
                  <a:close/>
                  <a:moveTo>
                    <a:pt x="36" y="37"/>
                  </a:moveTo>
                  <a:cubicBezTo>
                    <a:pt x="54" y="37"/>
                    <a:pt x="54" y="37"/>
                    <a:pt x="54" y="37"/>
                  </a:cubicBezTo>
                  <a:cubicBezTo>
                    <a:pt x="56" y="43"/>
                    <a:pt x="57" y="50"/>
                    <a:pt x="57" y="57"/>
                  </a:cubicBezTo>
                  <a:cubicBezTo>
                    <a:pt x="36" y="57"/>
                    <a:pt x="36" y="57"/>
                    <a:pt x="36" y="57"/>
                  </a:cubicBezTo>
                  <a:lnTo>
                    <a:pt x="36" y="37"/>
                  </a:lnTo>
                  <a:close/>
                  <a:moveTo>
                    <a:pt x="36" y="61"/>
                  </a:moveTo>
                  <a:cubicBezTo>
                    <a:pt x="57" y="61"/>
                    <a:pt x="57" y="61"/>
                    <a:pt x="57" y="61"/>
                  </a:cubicBezTo>
                  <a:cubicBezTo>
                    <a:pt x="57" y="69"/>
                    <a:pt x="56" y="76"/>
                    <a:pt x="54" y="82"/>
                  </a:cubicBezTo>
                  <a:cubicBezTo>
                    <a:pt x="36" y="82"/>
                    <a:pt x="36" y="82"/>
                    <a:pt x="36" y="82"/>
                  </a:cubicBezTo>
                  <a:lnTo>
                    <a:pt x="36" y="61"/>
                  </a:lnTo>
                  <a:close/>
                  <a:moveTo>
                    <a:pt x="36" y="86"/>
                  </a:moveTo>
                  <a:cubicBezTo>
                    <a:pt x="52" y="86"/>
                    <a:pt x="52" y="86"/>
                    <a:pt x="52" y="86"/>
                  </a:cubicBezTo>
                  <a:cubicBezTo>
                    <a:pt x="47" y="98"/>
                    <a:pt x="40" y="105"/>
                    <a:pt x="36" y="107"/>
                  </a:cubicBezTo>
                  <a:lnTo>
                    <a:pt x="36" y="86"/>
                  </a:lnTo>
                  <a:close/>
                  <a:moveTo>
                    <a:pt x="29" y="10"/>
                  </a:moveTo>
                  <a:cubicBezTo>
                    <a:pt x="29" y="33"/>
                    <a:pt x="29" y="33"/>
                    <a:pt x="29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6" y="21"/>
                    <a:pt x="23" y="13"/>
                    <a:pt x="29" y="10"/>
                  </a:cubicBezTo>
                  <a:close/>
                  <a:moveTo>
                    <a:pt x="10" y="37"/>
                  </a:moveTo>
                  <a:cubicBezTo>
                    <a:pt x="29" y="37"/>
                    <a:pt x="29" y="37"/>
                    <a:pt x="29" y="3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50"/>
                    <a:pt x="8" y="43"/>
                    <a:pt x="10" y="37"/>
                  </a:cubicBezTo>
                  <a:close/>
                  <a:moveTo>
                    <a:pt x="7" y="61"/>
                  </a:moveTo>
                  <a:cubicBezTo>
                    <a:pt x="29" y="61"/>
                    <a:pt x="29" y="61"/>
                    <a:pt x="29" y="61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8" y="76"/>
                    <a:pt x="7" y="68"/>
                    <a:pt x="7" y="61"/>
                  </a:cubicBezTo>
                  <a:close/>
                  <a:moveTo>
                    <a:pt x="12" y="86"/>
                  </a:moveTo>
                  <a:cubicBezTo>
                    <a:pt x="29" y="86"/>
                    <a:pt x="29" y="86"/>
                    <a:pt x="29" y="86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3" y="104"/>
                    <a:pt x="17" y="97"/>
                    <a:pt x="12" y="86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 115">
              <a:extLst>
                <a:ext uri="{FF2B5EF4-FFF2-40B4-BE49-F238E27FC236}">
                  <a16:creationId xmlns:a16="http://schemas.microsoft.com/office/drawing/2014/main" id="{BF6709F0-4152-4C23-AF5C-9023982A6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2950" y="4740275"/>
              <a:ext cx="160338" cy="33338"/>
            </a:xfrm>
            <a:custGeom>
              <a:avLst/>
              <a:gdLst>
                <a:gd name="T0" fmla="*/ 38 w 43"/>
                <a:gd name="T1" fmla="*/ 9 h 9"/>
                <a:gd name="T2" fmla="*/ 5 w 43"/>
                <a:gd name="T3" fmla="*/ 9 h 9"/>
                <a:gd name="T4" fmla="*/ 0 w 43"/>
                <a:gd name="T5" fmla="*/ 4 h 9"/>
                <a:gd name="T6" fmla="*/ 0 w 43"/>
                <a:gd name="T7" fmla="*/ 4 h 9"/>
                <a:gd name="T8" fmla="*/ 5 w 43"/>
                <a:gd name="T9" fmla="*/ 0 h 9"/>
                <a:gd name="T10" fmla="*/ 38 w 43"/>
                <a:gd name="T11" fmla="*/ 0 h 9"/>
                <a:gd name="T12" fmla="*/ 43 w 43"/>
                <a:gd name="T13" fmla="*/ 4 h 9"/>
                <a:gd name="T14" fmla="*/ 43 w 43"/>
                <a:gd name="T15" fmla="*/ 4 h 9"/>
                <a:gd name="T16" fmla="*/ 38 w 43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9">
                  <a:moveTo>
                    <a:pt x="38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3" y="2"/>
                    <a:pt x="43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7"/>
                    <a:pt x="41" y="9"/>
                    <a:pt x="38" y="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 116">
              <a:extLst>
                <a:ext uri="{FF2B5EF4-FFF2-40B4-BE49-F238E27FC236}">
                  <a16:creationId xmlns:a16="http://schemas.microsoft.com/office/drawing/2014/main" id="{B01337AE-985D-4C37-ABBE-AED5783AA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1875" y="4740275"/>
              <a:ext cx="160338" cy="33338"/>
            </a:xfrm>
            <a:custGeom>
              <a:avLst/>
              <a:gdLst>
                <a:gd name="T0" fmla="*/ 39 w 43"/>
                <a:gd name="T1" fmla="*/ 9 h 9"/>
                <a:gd name="T2" fmla="*/ 5 w 43"/>
                <a:gd name="T3" fmla="*/ 9 h 9"/>
                <a:gd name="T4" fmla="*/ 0 w 43"/>
                <a:gd name="T5" fmla="*/ 4 h 9"/>
                <a:gd name="T6" fmla="*/ 0 w 43"/>
                <a:gd name="T7" fmla="*/ 4 h 9"/>
                <a:gd name="T8" fmla="*/ 5 w 43"/>
                <a:gd name="T9" fmla="*/ 0 h 9"/>
                <a:gd name="T10" fmla="*/ 39 w 43"/>
                <a:gd name="T11" fmla="*/ 0 h 9"/>
                <a:gd name="T12" fmla="*/ 43 w 43"/>
                <a:gd name="T13" fmla="*/ 4 h 9"/>
                <a:gd name="T14" fmla="*/ 43 w 43"/>
                <a:gd name="T15" fmla="*/ 4 h 9"/>
                <a:gd name="T16" fmla="*/ 39 w 43"/>
                <a:gd name="T1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3" h="9">
                  <a:moveTo>
                    <a:pt x="39" y="9"/>
                  </a:moveTo>
                  <a:cubicBezTo>
                    <a:pt x="5" y="9"/>
                    <a:pt x="5" y="9"/>
                    <a:pt x="5" y="9"/>
                  </a:cubicBezTo>
                  <a:cubicBezTo>
                    <a:pt x="2" y="9"/>
                    <a:pt x="0" y="7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1" y="0"/>
                    <a:pt x="43" y="2"/>
                    <a:pt x="43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7"/>
                    <a:pt x="41" y="9"/>
                    <a:pt x="39" y="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45" name="Group 12524">
            <a:extLst>
              <a:ext uri="{FF2B5EF4-FFF2-40B4-BE49-F238E27FC236}">
                <a16:creationId xmlns:a16="http://schemas.microsoft.com/office/drawing/2014/main" id="{AC63416F-9F12-4E1E-87B8-716254AE9DA7}"/>
              </a:ext>
            </a:extLst>
          </p:cNvPr>
          <p:cNvGrpSpPr/>
          <p:nvPr userDrawn="1"/>
        </p:nvGrpSpPr>
        <p:grpSpPr>
          <a:xfrm>
            <a:off x="4361578" y="3620960"/>
            <a:ext cx="431515" cy="427520"/>
            <a:chOff x="4287837" y="4252913"/>
            <a:chExt cx="514350" cy="509588"/>
          </a:xfrm>
        </p:grpSpPr>
        <p:sp>
          <p:nvSpPr>
            <p:cNvPr id="146" name="Oval 117">
              <a:extLst>
                <a:ext uri="{FF2B5EF4-FFF2-40B4-BE49-F238E27FC236}">
                  <a16:creationId xmlns:a16="http://schemas.microsoft.com/office/drawing/2014/main" id="{30CB283D-3C5D-4B95-AAD8-5B394F8AE4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8325" y="4445000"/>
              <a:ext cx="77788" cy="74613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Oval 118">
              <a:extLst>
                <a:ext uri="{FF2B5EF4-FFF2-40B4-BE49-F238E27FC236}">
                  <a16:creationId xmlns:a16="http://schemas.microsoft.com/office/drawing/2014/main" id="{FCCC1041-A82D-4552-ACEE-1BE12B776E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8038" y="4349750"/>
              <a:ext cx="74613" cy="76200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Oval 119">
              <a:extLst>
                <a:ext uri="{FF2B5EF4-FFF2-40B4-BE49-F238E27FC236}">
                  <a16:creationId xmlns:a16="http://schemas.microsoft.com/office/drawing/2014/main" id="{896D5C59-94DD-44F1-8431-71735B1C3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8662" y="4616450"/>
              <a:ext cx="74613" cy="74613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49" name="Freeform 120">
              <a:extLst>
                <a:ext uri="{FF2B5EF4-FFF2-40B4-BE49-F238E27FC236}">
                  <a16:creationId xmlns:a16="http://schemas.microsoft.com/office/drawing/2014/main" id="{2F603E82-3F27-4CF4-A842-CD263527EA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7837" y="4252913"/>
              <a:ext cx="514350" cy="509588"/>
            </a:xfrm>
            <a:custGeom>
              <a:avLst/>
              <a:gdLst>
                <a:gd name="T0" fmla="*/ 0 w 137"/>
                <a:gd name="T1" fmla="*/ 68 h 136"/>
                <a:gd name="T2" fmla="*/ 137 w 137"/>
                <a:gd name="T3" fmla="*/ 68 h 136"/>
                <a:gd name="T4" fmla="*/ 74 w 137"/>
                <a:gd name="T5" fmla="*/ 9 h 136"/>
                <a:gd name="T6" fmla="*/ 91 w 137"/>
                <a:gd name="T7" fmla="*/ 25 h 136"/>
                <a:gd name="T8" fmla="*/ 86 w 137"/>
                <a:gd name="T9" fmla="*/ 12 h 136"/>
                <a:gd name="T10" fmla="*/ 111 w 137"/>
                <a:gd name="T11" fmla="*/ 33 h 136"/>
                <a:gd name="T12" fmla="*/ 111 w 137"/>
                <a:gd name="T13" fmla="*/ 38 h 136"/>
                <a:gd name="T14" fmla="*/ 128 w 137"/>
                <a:gd name="T15" fmla="*/ 61 h 136"/>
                <a:gd name="T16" fmla="*/ 104 w 137"/>
                <a:gd name="T17" fmla="*/ 63 h 136"/>
                <a:gd name="T18" fmla="*/ 100 w 137"/>
                <a:gd name="T19" fmla="*/ 49 h 136"/>
                <a:gd name="T20" fmla="*/ 71 w 137"/>
                <a:gd name="T21" fmla="*/ 43 h 136"/>
                <a:gd name="T22" fmla="*/ 86 w 137"/>
                <a:gd name="T23" fmla="*/ 36 h 136"/>
                <a:gd name="T24" fmla="*/ 63 w 137"/>
                <a:gd name="T25" fmla="*/ 40 h 136"/>
                <a:gd name="T26" fmla="*/ 37 w 137"/>
                <a:gd name="T27" fmla="*/ 18 h 136"/>
                <a:gd name="T28" fmla="*/ 74 w 137"/>
                <a:gd name="T29" fmla="*/ 9 h 136"/>
                <a:gd name="T30" fmla="*/ 100 w 137"/>
                <a:gd name="T31" fmla="*/ 79 h 136"/>
                <a:gd name="T32" fmla="*/ 109 w 137"/>
                <a:gd name="T33" fmla="*/ 75 h 136"/>
                <a:gd name="T34" fmla="*/ 29 w 137"/>
                <a:gd name="T35" fmla="*/ 32 h 136"/>
                <a:gd name="T36" fmla="*/ 31 w 137"/>
                <a:gd name="T37" fmla="*/ 22 h 136"/>
                <a:gd name="T38" fmla="*/ 29 w 137"/>
                <a:gd name="T39" fmla="*/ 37 h 136"/>
                <a:gd name="T40" fmla="*/ 35 w 137"/>
                <a:gd name="T41" fmla="*/ 48 h 136"/>
                <a:gd name="T42" fmla="*/ 57 w 137"/>
                <a:gd name="T43" fmla="*/ 43 h 136"/>
                <a:gd name="T44" fmla="*/ 46 w 137"/>
                <a:gd name="T45" fmla="*/ 55 h 136"/>
                <a:gd name="T46" fmla="*/ 98 w 137"/>
                <a:gd name="T47" fmla="*/ 65 h 136"/>
                <a:gd name="T48" fmla="*/ 53 w 137"/>
                <a:gd name="T49" fmla="*/ 87 h 136"/>
                <a:gd name="T50" fmla="*/ 37 w 137"/>
                <a:gd name="T51" fmla="*/ 73 h 136"/>
                <a:gd name="T52" fmla="*/ 22 w 137"/>
                <a:gd name="T53" fmla="*/ 86 h 136"/>
                <a:gd name="T54" fmla="*/ 25 w 137"/>
                <a:gd name="T55" fmla="*/ 70 h 136"/>
                <a:gd name="T56" fmla="*/ 11 w 137"/>
                <a:gd name="T57" fmla="*/ 84 h 136"/>
                <a:gd name="T58" fmla="*/ 18 w 137"/>
                <a:gd name="T59" fmla="*/ 37 h 136"/>
                <a:gd name="T60" fmla="*/ 13 w 137"/>
                <a:gd name="T61" fmla="*/ 90 h 136"/>
                <a:gd name="T62" fmla="*/ 14 w 137"/>
                <a:gd name="T63" fmla="*/ 92 h 136"/>
                <a:gd name="T64" fmla="*/ 89 w 137"/>
                <a:gd name="T65" fmla="*/ 109 h 136"/>
                <a:gd name="T66" fmla="*/ 102 w 137"/>
                <a:gd name="T67" fmla="*/ 117 h 136"/>
                <a:gd name="T68" fmla="*/ 49 w 137"/>
                <a:gd name="T69" fmla="*/ 124 h 136"/>
                <a:gd name="T70" fmla="*/ 66 w 137"/>
                <a:gd name="T71" fmla="*/ 111 h 136"/>
                <a:gd name="T72" fmla="*/ 42 w 137"/>
                <a:gd name="T73" fmla="*/ 121 h 136"/>
                <a:gd name="T74" fmla="*/ 20 w 137"/>
                <a:gd name="T75" fmla="*/ 91 h 136"/>
                <a:gd name="T76" fmla="*/ 50 w 137"/>
                <a:gd name="T77" fmla="*/ 92 h 136"/>
                <a:gd name="T78" fmla="*/ 68 w 137"/>
                <a:gd name="T79" fmla="*/ 99 h 136"/>
                <a:gd name="T80" fmla="*/ 90 w 137"/>
                <a:gd name="T81" fmla="*/ 87 h 136"/>
                <a:gd name="T82" fmla="*/ 87 w 137"/>
                <a:gd name="T83" fmla="*/ 100 h 136"/>
                <a:gd name="T84" fmla="*/ 112 w 137"/>
                <a:gd name="T85" fmla="*/ 79 h 136"/>
                <a:gd name="T86" fmla="*/ 123 w 137"/>
                <a:gd name="T87" fmla="*/ 92 h 136"/>
                <a:gd name="T88" fmla="*/ 125 w 137"/>
                <a:gd name="T89" fmla="*/ 88 h 136"/>
                <a:gd name="T90" fmla="*/ 128 w 137"/>
                <a:gd name="T91" fmla="*/ 68 h 136"/>
                <a:gd name="T92" fmla="*/ 125 w 137"/>
                <a:gd name="T93" fmla="*/ 8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37" h="136">
                  <a:moveTo>
                    <a:pt x="68" y="0"/>
                  </a:moveTo>
                  <a:cubicBezTo>
                    <a:pt x="31" y="0"/>
                    <a:pt x="0" y="31"/>
                    <a:pt x="0" y="68"/>
                  </a:cubicBezTo>
                  <a:cubicBezTo>
                    <a:pt x="0" y="106"/>
                    <a:pt x="31" y="136"/>
                    <a:pt x="68" y="136"/>
                  </a:cubicBezTo>
                  <a:cubicBezTo>
                    <a:pt x="106" y="136"/>
                    <a:pt x="137" y="106"/>
                    <a:pt x="137" y="68"/>
                  </a:cubicBezTo>
                  <a:cubicBezTo>
                    <a:pt x="137" y="31"/>
                    <a:pt x="106" y="0"/>
                    <a:pt x="68" y="0"/>
                  </a:cubicBezTo>
                  <a:close/>
                  <a:moveTo>
                    <a:pt x="74" y="9"/>
                  </a:moveTo>
                  <a:cubicBezTo>
                    <a:pt x="74" y="10"/>
                    <a:pt x="74" y="10"/>
                    <a:pt x="74" y="10"/>
                  </a:cubicBezTo>
                  <a:cubicBezTo>
                    <a:pt x="74" y="10"/>
                    <a:pt x="86" y="15"/>
                    <a:pt x="91" y="25"/>
                  </a:cubicBezTo>
                  <a:cubicBezTo>
                    <a:pt x="95" y="23"/>
                    <a:pt x="95" y="23"/>
                    <a:pt x="95" y="23"/>
                  </a:cubicBezTo>
                  <a:cubicBezTo>
                    <a:pt x="93" y="18"/>
                    <a:pt x="89" y="14"/>
                    <a:pt x="86" y="12"/>
                  </a:cubicBezTo>
                  <a:cubicBezTo>
                    <a:pt x="99" y="15"/>
                    <a:pt x="109" y="23"/>
                    <a:pt x="117" y="34"/>
                  </a:cubicBezTo>
                  <a:cubicBezTo>
                    <a:pt x="115" y="33"/>
                    <a:pt x="113" y="33"/>
                    <a:pt x="111" y="33"/>
                  </a:cubicBezTo>
                  <a:cubicBezTo>
                    <a:pt x="111" y="34"/>
                    <a:pt x="111" y="35"/>
                    <a:pt x="111" y="36"/>
                  </a:cubicBezTo>
                  <a:cubicBezTo>
                    <a:pt x="111" y="36"/>
                    <a:pt x="111" y="37"/>
                    <a:pt x="111" y="38"/>
                  </a:cubicBezTo>
                  <a:cubicBezTo>
                    <a:pt x="114" y="38"/>
                    <a:pt x="117" y="39"/>
                    <a:pt x="121" y="40"/>
                  </a:cubicBezTo>
                  <a:cubicBezTo>
                    <a:pt x="124" y="46"/>
                    <a:pt x="127" y="53"/>
                    <a:pt x="128" y="61"/>
                  </a:cubicBezTo>
                  <a:cubicBezTo>
                    <a:pt x="124" y="66"/>
                    <a:pt x="119" y="69"/>
                    <a:pt x="113" y="73"/>
                  </a:cubicBezTo>
                  <a:cubicBezTo>
                    <a:pt x="111" y="69"/>
                    <a:pt x="107" y="66"/>
                    <a:pt x="104" y="63"/>
                  </a:cubicBezTo>
                  <a:cubicBezTo>
                    <a:pt x="105" y="58"/>
                    <a:pt x="105" y="52"/>
                    <a:pt x="105" y="47"/>
                  </a:cubicBezTo>
                  <a:cubicBezTo>
                    <a:pt x="104" y="48"/>
                    <a:pt x="102" y="48"/>
                    <a:pt x="100" y="49"/>
                  </a:cubicBezTo>
                  <a:cubicBezTo>
                    <a:pt x="100" y="52"/>
                    <a:pt x="100" y="56"/>
                    <a:pt x="99" y="59"/>
                  </a:cubicBezTo>
                  <a:cubicBezTo>
                    <a:pt x="90" y="52"/>
                    <a:pt x="80" y="47"/>
                    <a:pt x="71" y="43"/>
                  </a:cubicBezTo>
                  <a:cubicBezTo>
                    <a:pt x="75" y="41"/>
                    <a:pt x="80" y="40"/>
                    <a:pt x="86" y="39"/>
                  </a:cubicBezTo>
                  <a:cubicBezTo>
                    <a:pt x="86" y="38"/>
                    <a:pt x="86" y="37"/>
                    <a:pt x="86" y="36"/>
                  </a:cubicBezTo>
                  <a:cubicBezTo>
                    <a:pt x="86" y="35"/>
                    <a:pt x="86" y="34"/>
                    <a:pt x="86" y="33"/>
                  </a:cubicBezTo>
                  <a:cubicBezTo>
                    <a:pt x="77" y="35"/>
                    <a:pt x="70" y="37"/>
                    <a:pt x="63" y="40"/>
                  </a:cubicBezTo>
                  <a:cubicBezTo>
                    <a:pt x="53" y="36"/>
                    <a:pt x="43" y="34"/>
                    <a:pt x="34" y="33"/>
                  </a:cubicBezTo>
                  <a:cubicBezTo>
                    <a:pt x="35" y="26"/>
                    <a:pt x="36" y="21"/>
                    <a:pt x="37" y="18"/>
                  </a:cubicBezTo>
                  <a:cubicBezTo>
                    <a:pt x="46" y="12"/>
                    <a:pt x="57" y="9"/>
                    <a:pt x="68" y="9"/>
                  </a:cubicBezTo>
                  <a:cubicBezTo>
                    <a:pt x="70" y="9"/>
                    <a:pt x="72" y="9"/>
                    <a:pt x="74" y="9"/>
                  </a:cubicBezTo>
                  <a:close/>
                  <a:moveTo>
                    <a:pt x="109" y="75"/>
                  </a:moveTo>
                  <a:cubicBezTo>
                    <a:pt x="106" y="77"/>
                    <a:pt x="103" y="78"/>
                    <a:pt x="100" y="79"/>
                  </a:cubicBezTo>
                  <a:cubicBezTo>
                    <a:pt x="101" y="76"/>
                    <a:pt x="102" y="73"/>
                    <a:pt x="103" y="69"/>
                  </a:cubicBezTo>
                  <a:cubicBezTo>
                    <a:pt x="105" y="71"/>
                    <a:pt x="107" y="73"/>
                    <a:pt x="109" y="75"/>
                  </a:cubicBezTo>
                  <a:close/>
                  <a:moveTo>
                    <a:pt x="31" y="22"/>
                  </a:moveTo>
                  <a:cubicBezTo>
                    <a:pt x="30" y="25"/>
                    <a:pt x="30" y="28"/>
                    <a:pt x="29" y="32"/>
                  </a:cubicBezTo>
                  <a:cubicBezTo>
                    <a:pt x="26" y="32"/>
                    <a:pt x="24" y="32"/>
                    <a:pt x="21" y="32"/>
                  </a:cubicBezTo>
                  <a:cubicBezTo>
                    <a:pt x="24" y="28"/>
                    <a:pt x="27" y="25"/>
                    <a:pt x="31" y="22"/>
                  </a:cubicBezTo>
                  <a:close/>
                  <a:moveTo>
                    <a:pt x="18" y="37"/>
                  </a:moveTo>
                  <a:cubicBezTo>
                    <a:pt x="20" y="37"/>
                    <a:pt x="24" y="37"/>
                    <a:pt x="29" y="37"/>
                  </a:cubicBezTo>
                  <a:cubicBezTo>
                    <a:pt x="29" y="41"/>
                    <a:pt x="30" y="45"/>
                    <a:pt x="30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5"/>
                    <a:pt x="34" y="41"/>
                    <a:pt x="34" y="38"/>
                  </a:cubicBezTo>
                  <a:cubicBezTo>
                    <a:pt x="41" y="39"/>
                    <a:pt x="48" y="41"/>
                    <a:pt x="57" y="43"/>
                  </a:cubicBezTo>
                  <a:cubicBezTo>
                    <a:pt x="49" y="47"/>
                    <a:pt x="44" y="51"/>
                    <a:pt x="43" y="51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55"/>
                    <a:pt x="53" y="50"/>
                    <a:pt x="63" y="46"/>
                  </a:cubicBezTo>
                  <a:cubicBezTo>
                    <a:pt x="75" y="50"/>
                    <a:pt x="87" y="56"/>
                    <a:pt x="98" y="65"/>
                  </a:cubicBezTo>
                  <a:cubicBezTo>
                    <a:pt x="97" y="71"/>
                    <a:pt x="96" y="76"/>
                    <a:pt x="94" y="81"/>
                  </a:cubicBezTo>
                  <a:cubicBezTo>
                    <a:pt x="80" y="85"/>
                    <a:pt x="66" y="87"/>
                    <a:pt x="53" y="87"/>
                  </a:cubicBezTo>
                  <a:cubicBezTo>
                    <a:pt x="46" y="80"/>
                    <a:pt x="43" y="74"/>
                    <a:pt x="42" y="71"/>
                  </a:cubicBezTo>
                  <a:cubicBezTo>
                    <a:pt x="41" y="72"/>
                    <a:pt x="39" y="73"/>
                    <a:pt x="37" y="73"/>
                  </a:cubicBezTo>
                  <a:cubicBezTo>
                    <a:pt x="39" y="76"/>
                    <a:pt x="41" y="81"/>
                    <a:pt x="46" y="87"/>
                  </a:cubicBezTo>
                  <a:cubicBezTo>
                    <a:pt x="37" y="87"/>
                    <a:pt x="28" y="86"/>
                    <a:pt x="22" y="86"/>
                  </a:cubicBezTo>
                  <a:cubicBezTo>
                    <a:pt x="24" y="81"/>
                    <a:pt x="26" y="76"/>
                    <a:pt x="29" y="73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2" y="73"/>
                    <a:pt x="19" y="79"/>
                    <a:pt x="17" y="85"/>
                  </a:cubicBezTo>
                  <a:cubicBezTo>
                    <a:pt x="14" y="85"/>
                    <a:pt x="12" y="85"/>
                    <a:pt x="11" y="84"/>
                  </a:cubicBezTo>
                  <a:cubicBezTo>
                    <a:pt x="10" y="79"/>
                    <a:pt x="9" y="74"/>
                    <a:pt x="9" y="68"/>
                  </a:cubicBezTo>
                  <a:cubicBezTo>
                    <a:pt x="9" y="57"/>
                    <a:pt x="12" y="46"/>
                    <a:pt x="18" y="37"/>
                  </a:cubicBezTo>
                  <a:close/>
                  <a:moveTo>
                    <a:pt x="14" y="92"/>
                  </a:moveTo>
                  <a:cubicBezTo>
                    <a:pt x="14" y="91"/>
                    <a:pt x="13" y="91"/>
                    <a:pt x="13" y="90"/>
                  </a:cubicBezTo>
                  <a:cubicBezTo>
                    <a:pt x="14" y="90"/>
                    <a:pt x="14" y="90"/>
                    <a:pt x="15" y="90"/>
                  </a:cubicBezTo>
                  <a:cubicBezTo>
                    <a:pt x="15" y="91"/>
                    <a:pt x="14" y="92"/>
                    <a:pt x="14" y="92"/>
                  </a:cubicBezTo>
                  <a:close/>
                  <a:moveTo>
                    <a:pt x="107" y="113"/>
                  </a:moveTo>
                  <a:cubicBezTo>
                    <a:pt x="101" y="112"/>
                    <a:pt x="95" y="110"/>
                    <a:pt x="89" y="109"/>
                  </a:cubicBezTo>
                  <a:cubicBezTo>
                    <a:pt x="89" y="110"/>
                    <a:pt x="88" y="112"/>
                    <a:pt x="88" y="113"/>
                  </a:cubicBezTo>
                  <a:cubicBezTo>
                    <a:pt x="92" y="115"/>
                    <a:pt x="97" y="116"/>
                    <a:pt x="102" y="117"/>
                  </a:cubicBezTo>
                  <a:cubicBezTo>
                    <a:pt x="93" y="124"/>
                    <a:pt x="81" y="127"/>
                    <a:pt x="68" y="127"/>
                  </a:cubicBezTo>
                  <a:cubicBezTo>
                    <a:pt x="62" y="127"/>
                    <a:pt x="55" y="126"/>
                    <a:pt x="49" y="124"/>
                  </a:cubicBezTo>
                  <a:cubicBezTo>
                    <a:pt x="56" y="122"/>
                    <a:pt x="62" y="119"/>
                    <a:pt x="68" y="116"/>
                  </a:cubicBezTo>
                  <a:cubicBezTo>
                    <a:pt x="67" y="114"/>
                    <a:pt x="66" y="113"/>
                    <a:pt x="66" y="111"/>
                  </a:cubicBezTo>
                  <a:cubicBezTo>
                    <a:pt x="59" y="115"/>
                    <a:pt x="52" y="118"/>
                    <a:pt x="43" y="121"/>
                  </a:cubicBezTo>
                  <a:cubicBezTo>
                    <a:pt x="43" y="121"/>
                    <a:pt x="42" y="121"/>
                    <a:pt x="42" y="121"/>
                  </a:cubicBezTo>
                  <a:cubicBezTo>
                    <a:pt x="32" y="116"/>
                    <a:pt x="23" y="108"/>
                    <a:pt x="17" y="98"/>
                  </a:cubicBezTo>
                  <a:cubicBezTo>
                    <a:pt x="18" y="97"/>
                    <a:pt x="19" y="94"/>
                    <a:pt x="20" y="91"/>
                  </a:cubicBezTo>
                  <a:cubicBezTo>
                    <a:pt x="27" y="91"/>
                    <a:pt x="36" y="92"/>
                    <a:pt x="47" y="92"/>
                  </a:cubicBezTo>
                  <a:cubicBezTo>
                    <a:pt x="48" y="92"/>
                    <a:pt x="49" y="92"/>
                    <a:pt x="50" y="92"/>
                  </a:cubicBezTo>
                  <a:cubicBezTo>
                    <a:pt x="54" y="96"/>
                    <a:pt x="59" y="100"/>
                    <a:pt x="65" y="104"/>
                  </a:cubicBezTo>
                  <a:cubicBezTo>
                    <a:pt x="66" y="102"/>
                    <a:pt x="67" y="101"/>
                    <a:pt x="68" y="99"/>
                  </a:cubicBezTo>
                  <a:cubicBezTo>
                    <a:pt x="64" y="97"/>
                    <a:pt x="61" y="94"/>
                    <a:pt x="58" y="92"/>
                  </a:cubicBezTo>
                  <a:cubicBezTo>
                    <a:pt x="70" y="91"/>
                    <a:pt x="81" y="90"/>
                    <a:pt x="90" y="87"/>
                  </a:cubicBezTo>
                  <a:cubicBezTo>
                    <a:pt x="88" y="91"/>
                    <a:pt x="86" y="94"/>
                    <a:pt x="83" y="97"/>
                  </a:cubicBezTo>
                  <a:cubicBezTo>
                    <a:pt x="85" y="98"/>
                    <a:pt x="86" y="99"/>
                    <a:pt x="87" y="100"/>
                  </a:cubicBezTo>
                  <a:cubicBezTo>
                    <a:pt x="91" y="96"/>
                    <a:pt x="94" y="91"/>
                    <a:pt x="97" y="85"/>
                  </a:cubicBezTo>
                  <a:cubicBezTo>
                    <a:pt x="103" y="84"/>
                    <a:pt x="108" y="81"/>
                    <a:pt x="112" y="79"/>
                  </a:cubicBezTo>
                  <a:cubicBezTo>
                    <a:pt x="116" y="83"/>
                    <a:pt x="119" y="88"/>
                    <a:pt x="122" y="93"/>
                  </a:cubicBezTo>
                  <a:cubicBezTo>
                    <a:pt x="123" y="92"/>
                    <a:pt x="123" y="92"/>
                    <a:pt x="123" y="92"/>
                  </a:cubicBezTo>
                  <a:cubicBezTo>
                    <a:pt x="119" y="100"/>
                    <a:pt x="114" y="107"/>
                    <a:pt x="107" y="113"/>
                  </a:cubicBezTo>
                  <a:close/>
                  <a:moveTo>
                    <a:pt x="125" y="88"/>
                  </a:moveTo>
                  <a:cubicBezTo>
                    <a:pt x="122" y="84"/>
                    <a:pt x="120" y="80"/>
                    <a:pt x="117" y="76"/>
                  </a:cubicBezTo>
                  <a:cubicBezTo>
                    <a:pt x="121" y="74"/>
                    <a:pt x="125" y="71"/>
                    <a:pt x="128" y="68"/>
                  </a:cubicBezTo>
                  <a:cubicBezTo>
                    <a:pt x="128" y="68"/>
                    <a:pt x="128" y="68"/>
                    <a:pt x="128" y="68"/>
                  </a:cubicBezTo>
                  <a:cubicBezTo>
                    <a:pt x="128" y="75"/>
                    <a:pt x="127" y="81"/>
                    <a:pt x="125" y="88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0" name="Group 12497">
            <a:extLst>
              <a:ext uri="{FF2B5EF4-FFF2-40B4-BE49-F238E27FC236}">
                <a16:creationId xmlns:a16="http://schemas.microsoft.com/office/drawing/2014/main" id="{F020DC95-4DF6-4397-8FDC-2E8E1FAD40C0}"/>
              </a:ext>
            </a:extLst>
          </p:cNvPr>
          <p:cNvGrpSpPr/>
          <p:nvPr userDrawn="1"/>
        </p:nvGrpSpPr>
        <p:grpSpPr>
          <a:xfrm>
            <a:off x="6225942" y="3645173"/>
            <a:ext cx="368919" cy="367587"/>
            <a:chOff x="6526213" y="4294188"/>
            <a:chExt cx="439738" cy="438150"/>
          </a:xfrm>
        </p:grpSpPr>
        <p:sp>
          <p:nvSpPr>
            <p:cNvPr id="151" name="Freeform 121">
              <a:extLst>
                <a:ext uri="{FF2B5EF4-FFF2-40B4-BE49-F238E27FC236}">
                  <a16:creationId xmlns:a16="http://schemas.microsoft.com/office/drawing/2014/main" id="{96A1CFC1-33E4-4278-9F4C-AE34E1E5D452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3213" y="4403725"/>
              <a:ext cx="192088" cy="190500"/>
            </a:xfrm>
            <a:custGeom>
              <a:avLst/>
              <a:gdLst>
                <a:gd name="T0" fmla="*/ 39 w 51"/>
                <a:gd name="T1" fmla="*/ 1 h 51"/>
                <a:gd name="T2" fmla="*/ 14 w 51"/>
                <a:gd name="T3" fmla="*/ 3 h 51"/>
                <a:gd name="T4" fmla="*/ 0 w 51"/>
                <a:gd name="T5" fmla="*/ 10 h 51"/>
                <a:gd name="T6" fmla="*/ 0 w 51"/>
                <a:gd name="T7" fmla="*/ 11 h 51"/>
                <a:gd name="T8" fmla="*/ 0 w 51"/>
                <a:gd name="T9" fmla="*/ 11 h 51"/>
                <a:gd name="T10" fmla="*/ 47 w 51"/>
                <a:gd name="T11" fmla="*/ 51 h 51"/>
                <a:gd name="T12" fmla="*/ 48 w 51"/>
                <a:gd name="T13" fmla="*/ 50 h 51"/>
                <a:gd name="T14" fmla="*/ 51 w 51"/>
                <a:gd name="T15" fmla="*/ 33 h 51"/>
                <a:gd name="T16" fmla="*/ 48 w 51"/>
                <a:gd name="T17" fmla="*/ 7 h 51"/>
                <a:gd name="T18" fmla="*/ 39 w 51"/>
                <a:gd name="T19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1">
                  <a:moveTo>
                    <a:pt x="39" y="1"/>
                  </a:moveTo>
                  <a:cubicBezTo>
                    <a:pt x="31" y="0"/>
                    <a:pt x="22" y="1"/>
                    <a:pt x="14" y="3"/>
                  </a:cubicBezTo>
                  <a:cubicBezTo>
                    <a:pt x="9" y="5"/>
                    <a:pt x="4" y="7"/>
                    <a:pt x="0" y="10"/>
                  </a:cubicBezTo>
                  <a:cubicBezTo>
                    <a:pt x="0" y="10"/>
                    <a:pt x="0" y="10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6" y="17"/>
                    <a:pt x="34" y="28"/>
                    <a:pt x="47" y="51"/>
                  </a:cubicBezTo>
                  <a:cubicBezTo>
                    <a:pt x="47" y="51"/>
                    <a:pt x="47" y="50"/>
                    <a:pt x="48" y="50"/>
                  </a:cubicBezTo>
                  <a:cubicBezTo>
                    <a:pt x="49" y="45"/>
                    <a:pt x="51" y="39"/>
                    <a:pt x="51" y="33"/>
                  </a:cubicBezTo>
                  <a:cubicBezTo>
                    <a:pt x="51" y="24"/>
                    <a:pt x="50" y="16"/>
                    <a:pt x="48" y="7"/>
                  </a:cubicBezTo>
                  <a:cubicBezTo>
                    <a:pt x="44" y="7"/>
                    <a:pt x="40" y="4"/>
                    <a:pt x="39" y="1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Freeform 122">
              <a:extLst>
                <a:ext uri="{FF2B5EF4-FFF2-40B4-BE49-F238E27FC236}">
                  <a16:creationId xmlns:a16="http://schemas.microsoft.com/office/drawing/2014/main" id="{8D3A290E-2EA5-4728-ACD2-526B45B2A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1800" y="4654550"/>
              <a:ext cx="66675" cy="77788"/>
            </a:xfrm>
            <a:custGeom>
              <a:avLst/>
              <a:gdLst>
                <a:gd name="T0" fmla="*/ 14 w 18"/>
                <a:gd name="T1" fmla="*/ 0 h 21"/>
                <a:gd name="T2" fmla="*/ 14 w 18"/>
                <a:gd name="T3" fmla="*/ 0 h 21"/>
                <a:gd name="T4" fmla="*/ 0 w 18"/>
                <a:gd name="T5" fmla="*/ 21 h 21"/>
                <a:gd name="T6" fmla="*/ 18 w 18"/>
                <a:gd name="T7" fmla="*/ 14 h 21"/>
                <a:gd name="T8" fmla="*/ 14 w 18"/>
                <a:gd name="T9" fmla="*/ 0 h 21"/>
                <a:gd name="T10" fmla="*/ 14 w 18"/>
                <a:gd name="T1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1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9" y="9"/>
                    <a:pt x="4" y="16"/>
                    <a:pt x="0" y="21"/>
                  </a:cubicBezTo>
                  <a:cubicBezTo>
                    <a:pt x="6" y="20"/>
                    <a:pt x="13" y="17"/>
                    <a:pt x="18" y="14"/>
                  </a:cubicBezTo>
                  <a:cubicBezTo>
                    <a:pt x="17" y="9"/>
                    <a:pt x="16" y="4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3" name="Freeform 123">
              <a:extLst>
                <a:ext uri="{FF2B5EF4-FFF2-40B4-BE49-F238E27FC236}">
                  <a16:creationId xmlns:a16="http://schemas.microsoft.com/office/drawing/2014/main" id="{DAFBC436-F23F-43F8-972F-CD9EFF18C1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9738" y="4297363"/>
              <a:ext cx="157163" cy="128588"/>
            </a:xfrm>
            <a:custGeom>
              <a:avLst/>
              <a:gdLst>
                <a:gd name="T0" fmla="*/ 12 w 42"/>
                <a:gd name="T1" fmla="*/ 19 h 34"/>
                <a:gd name="T2" fmla="*/ 12 w 42"/>
                <a:gd name="T3" fmla="*/ 19 h 34"/>
                <a:gd name="T4" fmla="*/ 22 w 42"/>
                <a:gd name="T5" fmla="*/ 26 h 34"/>
                <a:gd name="T6" fmla="*/ 42 w 42"/>
                <a:gd name="T7" fmla="*/ 34 h 34"/>
                <a:gd name="T8" fmla="*/ 0 w 42"/>
                <a:gd name="T9" fmla="*/ 0 h 34"/>
                <a:gd name="T10" fmla="*/ 12 w 42"/>
                <a:gd name="T11" fmla="*/ 1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4">
                  <a:moveTo>
                    <a:pt x="12" y="19"/>
                  </a:moveTo>
                  <a:cubicBezTo>
                    <a:pt x="12" y="19"/>
                    <a:pt x="12" y="19"/>
                    <a:pt x="12" y="19"/>
                  </a:cubicBezTo>
                  <a:cubicBezTo>
                    <a:pt x="17" y="19"/>
                    <a:pt x="21" y="22"/>
                    <a:pt x="22" y="26"/>
                  </a:cubicBezTo>
                  <a:cubicBezTo>
                    <a:pt x="28" y="28"/>
                    <a:pt x="35" y="30"/>
                    <a:pt x="42" y="34"/>
                  </a:cubicBezTo>
                  <a:cubicBezTo>
                    <a:pt x="35" y="16"/>
                    <a:pt x="19" y="3"/>
                    <a:pt x="0" y="0"/>
                  </a:cubicBezTo>
                  <a:cubicBezTo>
                    <a:pt x="4" y="6"/>
                    <a:pt x="8" y="12"/>
                    <a:pt x="12" y="1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Freeform 124">
              <a:extLst>
                <a:ext uri="{FF2B5EF4-FFF2-40B4-BE49-F238E27FC236}">
                  <a16:creationId xmlns:a16="http://schemas.microsoft.com/office/drawing/2014/main" id="{8AEC5C94-235A-49C3-9093-A3F432DB90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3238" y="4418013"/>
              <a:ext cx="112713" cy="277813"/>
            </a:xfrm>
            <a:custGeom>
              <a:avLst/>
              <a:gdLst>
                <a:gd name="T0" fmla="*/ 3 w 30"/>
                <a:gd name="T1" fmla="*/ 0 h 74"/>
                <a:gd name="T2" fmla="*/ 1 w 30"/>
                <a:gd name="T3" fmla="*/ 2 h 74"/>
                <a:gd name="T4" fmla="*/ 4 w 30"/>
                <a:gd name="T5" fmla="*/ 29 h 74"/>
                <a:gd name="T6" fmla="*/ 0 w 30"/>
                <a:gd name="T7" fmla="*/ 48 h 74"/>
                <a:gd name="T8" fmla="*/ 4 w 30"/>
                <a:gd name="T9" fmla="*/ 55 h 74"/>
                <a:gd name="T10" fmla="*/ 1 w 30"/>
                <a:gd name="T11" fmla="*/ 61 h 74"/>
                <a:gd name="T12" fmla="*/ 5 w 30"/>
                <a:gd name="T13" fmla="*/ 74 h 74"/>
                <a:gd name="T14" fmla="*/ 30 w 30"/>
                <a:gd name="T15" fmla="*/ 26 h 74"/>
                <a:gd name="T16" fmla="*/ 28 w 30"/>
                <a:gd name="T17" fmla="*/ 10 h 74"/>
                <a:gd name="T18" fmla="*/ 3 w 30"/>
                <a:gd name="T1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74">
                  <a:moveTo>
                    <a:pt x="3" y="0"/>
                  </a:moveTo>
                  <a:cubicBezTo>
                    <a:pt x="3" y="1"/>
                    <a:pt x="2" y="1"/>
                    <a:pt x="1" y="2"/>
                  </a:cubicBezTo>
                  <a:cubicBezTo>
                    <a:pt x="3" y="11"/>
                    <a:pt x="4" y="20"/>
                    <a:pt x="4" y="29"/>
                  </a:cubicBezTo>
                  <a:cubicBezTo>
                    <a:pt x="3" y="36"/>
                    <a:pt x="2" y="42"/>
                    <a:pt x="0" y="48"/>
                  </a:cubicBezTo>
                  <a:cubicBezTo>
                    <a:pt x="2" y="50"/>
                    <a:pt x="4" y="52"/>
                    <a:pt x="4" y="55"/>
                  </a:cubicBezTo>
                  <a:cubicBezTo>
                    <a:pt x="4" y="57"/>
                    <a:pt x="2" y="59"/>
                    <a:pt x="1" y="61"/>
                  </a:cubicBezTo>
                  <a:cubicBezTo>
                    <a:pt x="2" y="65"/>
                    <a:pt x="4" y="69"/>
                    <a:pt x="5" y="74"/>
                  </a:cubicBezTo>
                  <a:cubicBezTo>
                    <a:pt x="20" y="63"/>
                    <a:pt x="30" y="46"/>
                    <a:pt x="30" y="26"/>
                  </a:cubicBezTo>
                  <a:cubicBezTo>
                    <a:pt x="30" y="20"/>
                    <a:pt x="30" y="15"/>
                    <a:pt x="28" y="10"/>
                  </a:cubicBezTo>
                  <a:cubicBezTo>
                    <a:pt x="20" y="6"/>
                    <a:pt x="11" y="2"/>
                    <a:pt x="3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5" name="Freeform 125">
              <a:extLst>
                <a:ext uri="{FF2B5EF4-FFF2-40B4-BE49-F238E27FC236}">
                  <a16:creationId xmlns:a16="http://schemas.microsoft.com/office/drawing/2014/main" id="{A0712789-B5C5-4A20-84D4-6BC8BA8BE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263" y="4294188"/>
              <a:ext cx="266700" cy="134938"/>
            </a:xfrm>
            <a:custGeom>
              <a:avLst/>
              <a:gdLst>
                <a:gd name="T0" fmla="*/ 12 w 71"/>
                <a:gd name="T1" fmla="*/ 36 h 36"/>
                <a:gd name="T2" fmla="*/ 20 w 71"/>
                <a:gd name="T3" fmla="*/ 31 h 36"/>
                <a:gd name="T4" fmla="*/ 26 w 71"/>
                <a:gd name="T5" fmla="*/ 33 h 36"/>
                <a:gd name="T6" fmla="*/ 41 w 71"/>
                <a:gd name="T7" fmla="*/ 27 h 36"/>
                <a:gd name="T8" fmla="*/ 69 w 71"/>
                <a:gd name="T9" fmla="*/ 24 h 36"/>
                <a:gd name="T10" fmla="*/ 71 w 71"/>
                <a:gd name="T11" fmla="*/ 22 h 36"/>
                <a:gd name="T12" fmla="*/ 56 w 71"/>
                <a:gd name="T13" fmla="*/ 0 h 36"/>
                <a:gd name="T14" fmla="*/ 53 w 71"/>
                <a:gd name="T15" fmla="*/ 0 h 36"/>
                <a:gd name="T16" fmla="*/ 0 w 71"/>
                <a:gd name="T17" fmla="*/ 35 h 36"/>
                <a:gd name="T18" fmla="*/ 12 w 71"/>
                <a:gd name="T1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" h="36">
                  <a:moveTo>
                    <a:pt x="12" y="36"/>
                  </a:moveTo>
                  <a:cubicBezTo>
                    <a:pt x="14" y="33"/>
                    <a:pt x="17" y="31"/>
                    <a:pt x="20" y="31"/>
                  </a:cubicBezTo>
                  <a:cubicBezTo>
                    <a:pt x="22" y="31"/>
                    <a:pt x="24" y="32"/>
                    <a:pt x="26" y="33"/>
                  </a:cubicBezTo>
                  <a:cubicBezTo>
                    <a:pt x="31" y="31"/>
                    <a:pt x="36" y="28"/>
                    <a:pt x="41" y="27"/>
                  </a:cubicBezTo>
                  <a:cubicBezTo>
                    <a:pt x="51" y="24"/>
                    <a:pt x="60" y="23"/>
                    <a:pt x="69" y="24"/>
                  </a:cubicBezTo>
                  <a:cubicBezTo>
                    <a:pt x="70" y="23"/>
                    <a:pt x="70" y="23"/>
                    <a:pt x="71" y="22"/>
                  </a:cubicBezTo>
                  <a:cubicBezTo>
                    <a:pt x="67" y="14"/>
                    <a:pt x="62" y="7"/>
                    <a:pt x="56" y="0"/>
                  </a:cubicBezTo>
                  <a:cubicBezTo>
                    <a:pt x="55" y="0"/>
                    <a:pt x="54" y="0"/>
                    <a:pt x="53" y="0"/>
                  </a:cubicBezTo>
                  <a:cubicBezTo>
                    <a:pt x="29" y="0"/>
                    <a:pt x="9" y="14"/>
                    <a:pt x="0" y="35"/>
                  </a:cubicBezTo>
                  <a:cubicBezTo>
                    <a:pt x="3" y="35"/>
                    <a:pt x="7" y="35"/>
                    <a:pt x="12" y="36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6" name="Freeform 126">
              <a:extLst>
                <a:ext uri="{FF2B5EF4-FFF2-40B4-BE49-F238E27FC236}">
                  <a16:creationId xmlns:a16="http://schemas.microsoft.com/office/drawing/2014/main" id="{18082870-D812-4167-8E5E-66315145D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975" y="4462463"/>
              <a:ext cx="280988" cy="269875"/>
            </a:xfrm>
            <a:custGeom>
              <a:avLst/>
              <a:gdLst>
                <a:gd name="T0" fmla="*/ 58 w 75"/>
                <a:gd name="T1" fmla="*/ 72 h 72"/>
                <a:gd name="T2" fmla="*/ 75 w 75"/>
                <a:gd name="T3" fmla="*/ 49 h 72"/>
                <a:gd name="T4" fmla="*/ 72 w 75"/>
                <a:gd name="T5" fmla="*/ 43 h 72"/>
                <a:gd name="T6" fmla="*/ 75 w 75"/>
                <a:gd name="T7" fmla="*/ 37 h 72"/>
                <a:gd name="T8" fmla="*/ 31 w 75"/>
                <a:gd name="T9" fmla="*/ 0 h 72"/>
                <a:gd name="T10" fmla="*/ 24 w 75"/>
                <a:gd name="T11" fmla="*/ 3 h 72"/>
                <a:gd name="T12" fmla="*/ 20 w 75"/>
                <a:gd name="T13" fmla="*/ 2 h 72"/>
                <a:gd name="T14" fmla="*/ 0 w 75"/>
                <a:gd name="T15" fmla="*/ 24 h 72"/>
                <a:gd name="T16" fmla="*/ 57 w 75"/>
                <a:gd name="T17" fmla="*/ 72 h 72"/>
                <a:gd name="T18" fmla="*/ 58 w 75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5" h="72">
                  <a:moveTo>
                    <a:pt x="58" y="72"/>
                  </a:moveTo>
                  <a:cubicBezTo>
                    <a:pt x="62" y="68"/>
                    <a:pt x="69" y="60"/>
                    <a:pt x="75" y="49"/>
                  </a:cubicBezTo>
                  <a:cubicBezTo>
                    <a:pt x="73" y="47"/>
                    <a:pt x="72" y="45"/>
                    <a:pt x="72" y="43"/>
                  </a:cubicBezTo>
                  <a:cubicBezTo>
                    <a:pt x="72" y="40"/>
                    <a:pt x="73" y="38"/>
                    <a:pt x="75" y="37"/>
                  </a:cubicBezTo>
                  <a:cubicBezTo>
                    <a:pt x="63" y="16"/>
                    <a:pt x="46" y="5"/>
                    <a:pt x="31" y="0"/>
                  </a:cubicBezTo>
                  <a:cubicBezTo>
                    <a:pt x="29" y="2"/>
                    <a:pt x="27" y="3"/>
                    <a:pt x="24" y="3"/>
                  </a:cubicBezTo>
                  <a:cubicBezTo>
                    <a:pt x="23" y="3"/>
                    <a:pt x="21" y="3"/>
                    <a:pt x="20" y="2"/>
                  </a:cubicBezTo>
                  <a:cubicBezTo>
                    <a:pt x="10" y="10"/>
                    <a:pt x="4" y="18"/>
                    <a:pt x="0" y="24"/>
                  </a:cubicBezTo>
                  <a:cubicBezTo>
                    <a:pt x="5" y="52"/>
                    <a:pt x="29" y="72"/>
                    <a:pt x="57" y="72"/>
                  </a:cubicBezTo>
                  <a:cubicBezTo>
                    <a:pt x="58" y="72"/>
                    <a:pt x="58" y="72"/>
                    <a:pt x="58" y="7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57" name="Freeform 127">
              <a:extLst>
                <a:ext uri="{FF2B5EF4-FFF2-40B4-BE49-F238E27FC236}">
                  <a16:creationId xmlns:a16="http://schemas.microsoft.com/office/drawing/2014/main" id="{D10DEF2F-2DFF-4ECF-860C-DE4E3B381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6213" y="4448175"/>
              <a:ext cx="63500" cy="71438"/>
            </a:xfrm>
            <a:custGeom>
              <a:avLst/>
              <a:gdLst>
                <a:gd name="T0" fmla="*/ 17 w 17"/>
                <a:gd name="T1" fmla="*/ 1 h 19"/>
                <a:gd name="T2" fmla="*/ 17 w 17"/>
                <a:gd name="T3" fmla="*/ 1 h 19"/>
                <a:gd name="T4" fmla="*/ 2 w 17"/>
                <a:gd name="T5" fmla="*/ 0 h 19"/>
                <a:gd name="T6" fmla="*/ 0 w 17"/>
                <a:gd name="T7" fmla="*/ 18 h 19"/>
                <a:gd name="T8" fmla="*/ 0 w 17"/>
                <a:gd name="T9" fmla="*/ 19 h 19"/>
                <a:gd name="T10" fmla="*/ 17 w 17"/>
                <a:gd name="T11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9">
                  <a:moveTo>
                    <a:pt x="17" y="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1" y="0"/>
                    <a:pt x="6" y="0"/>
                    <a:pt x="2" y="0"/>
                  </a:cubicBezTo>
                  <a:cubicBezTo>
                    <a:pt x="1" y="5"/>
                    <a:pt x="0" y="11"/>
                    <a:pt x="0" y="18"/>
                  </a:cubicBezTo>
                  <a:cubicBezTo>
                    <a:pt x="0" y="18"/>
                    <a:pt x="0" y="19"/>
                    <a:pt x="0" y="19"/>
                  </a:cubicBezTo>
                  <a:cubicBezTo>
                    <a:pt x="4" y="14"/>
                    <a:pt x="10" y="7"/>
                    <a:pt x="17" y="1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8" name="Group 12496">
            <a:extLst>
              <a:ext uri="{FF2B5EF4-FFF2-40B4-BE49-F238E27FC236}">
                <a16:creationId xmlns:a16="http://schemas.microsoft.com/office/drawing/2014/main" id="{54AC666C-02E0-4CD5-8B3B-E1EDCAB4B01E}"/>
              </a:ext>
            </a:extLst>
          </p:cNvPr>
          <p:cNvGrpSpPr/>
          <p:nvPr userDrawn="1"/>
        </p:nvGrpSpPr>
        <p:grpSpPr>
          <a:xfrm>
            <a:off x="7173998" y="3642484"/>
            <a:ext cx="298331" cy="374246"/>
            <a:chOff x="7621588" y="4279900"/>
            <a:chExt cx="355600" cy="446088"/>
          </a:xfrm>
        </p:grpSpPr>
        <p:sp>
          <p:nvSpPr>
            <p:cNvPr id="159" name="Freeform 128">
              <a:extLst>
                <a:ext uri="{FF2B5EF4-FFF2-40B4-BE49-F238E27FC236}">
                  <a16:creationId xmlns:a16="http://schemas.microsoft.com/office/drawing/2014/main" id="{F4394EBB-AE5E-4FDE-B560-B398855A0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2075" y="4362450"/>
              <a:ext cx="165100" cy="134938"/>
            </a:xfrm>
            <a:custGeom>
              <a:avLst/>
              <a:gdLst>
                <a:gd name="T0" fmla="*/ 28 w 44"/>
                <a:gd name="T1" fmla="*/ 0 h 36"/>
                <a:gd name="T2" fmla="*/ 9 w 44"/>
                <a:gd name="T3" fmla="*/ 8 h 36"/>
                <a:gd name="T4" fmla="*/ 0 w 44"/>
                <a:gd name="T5" fmla="*/ 15 h 36"/>
                <a:gd name="T6" fmla="*/ 0 w 44"/>
                <a:gd name="T7" fmla="*/ 16 h 36"/>
                <a:gd name="T8" fmla="*/ 0 w 44"/>
                <a:gd name="T9" fmla="*/ 16 h 36"/>
                <a:gd name="T10" fmla="*/ 44 w 44"/>
                <a:gd name="T11" fmla="*/ 36 h 36"/>
                <a:gd name="T12" fmla="*/ 44 w 44"/>
                <a:gd name="T13" fmla="*/ 36 h 36"/>
                <a:gd name="T14" fmla="*/ 43 w 44"/>
                <a:gd name="T15" fmla="*/ 22 h 36"/>
                <a:gd name="T16" fmla="*/ 35 w 44"/>
                <a:gd name="T17" fmla="*/ 3 h 36"/>
                <a:gd name="T18" fmla="*/ 28 w 44"/>
                <a:gd name="T1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cubicBezTo>
                    <a:pt x="21" y="2"/>
                    <a:pt x="15" y="4"/>
                    <a:pt x="9" y="8"/>
                  </a:cubicBezTo>
                  <a:cubicBezTo>
                    <a:pt x="6" y="10"/>
                    <a:pt x="2" y="12"/>
                    <a:pt x="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3" y="17"/>
                    <a:pt x="29" y="22"/>
                    <a:pt x="44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4" y="31"/>
                    <a:pt x="44" y="27"/>
                    <a:pt x="43" y="22"/>
                  </a:cubicBezTo>
                  <a:cubicBezTo>
                    <a:pt x="42" y="15"/>
                    <a:pt x="39" y="9"/>
                    <a:pt x="35" y="3"/>
                  </a:cubicBezTo>
                  <a:cubicBezTo>
                    <a:pt x="32" y="4"/>
                    <a:pt x="29" y="3"/>
                    <a:pt x="28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0" name="Freeform 129">
              <a:extLst>
                <a:ext uri="{FF2B5EF4-FFF2-40B4-BE49-F238E27FC236}">
                  <a16:creationId xmlns:a16="http://schemas.microsoft.com/office/drawing/2014/main" id="{39B352FA-0130-4699-8100-1A933C298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9238" y="4541838"/>
              <a:ext cx="44450" cy="71438"/>
            </a:xfrm>
            <a:custGeom>
              <a:avLst/>
              <a:gdLst>
                <a:gd name="T0" fmla="*/ 6 w 12"/>
                <a:gd name="T1" fmla="*/ 0 h 19"/>
                <a:gd name="T2" fmla="*/ 6 w 12"/>
                <a:gd name="T3" fmla="*/ 0 h 19"/>
                <a:gd name="T4" fmla="*/ 0 w 12"/>
                <a:gd name="T5" fmla="*/ 19 h 19"/>
                <a:gd name="T6" fmla="*/ 12 w 12"/>
                <a:gd name="T7" fmla="*/ 10 h 19"/>
                <a:gd name="T8" fmla="*/ 6 w 12"/>
                <a:gd name="T9" fmla="*/ 0 h 19"/>
                <a:gd name="T10" fmla="*/ 6 w 12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9">
                  <a:moveTo>
                    <a:pt x="6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4" y="8"/>
                    <a:pt x="2" y="14"/>
                    <a:pt x="0" y="19"/>
                  </a:cubicBezTo>
                  <a:cubicBezTo>
                    <a:pt x="4" y="16"/>
                    <a:pt x="9" y="14"/>
                    <a:pt x="12" y="10"/>
                  </a:cubicBezTo>
                  <a:cubicBezTo>
                    <a:pt x="10" y="6"/>
                    <a:pt x="8" y="3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1" name="Freeform 130">
              <a:extLst>
                <a:ext uri="{FF2B5EF4-FFF2-40B4-BE49-F238E27FC236}">
                  <a16:creationId xmlns:a16="http://schemas.microsoft.com/office/drawing/2014/main" id="{8FC1626E-A134-4D8B-A99F-0AB7D975D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3513" y="4279900"/>
              <a:ext cx="146050" cy="66675"/>
            </a:xfrm>
            <a:custGeom>
              <a:avLst/>
              <a:gdLst>
                <a:gd name="T0" fmla="*/ 13 w 39"/>
                <a:gd name="T1" fmla="*/ 13 h 18"/>
                <a:gd name="T2" fmla="*/ 13 w 39"/>
                <a:gd name="T3" fmla="*/ 13 h 18"/>
                <a:gd name="T4" fmla="*/ 22 w 39"/>
                <a:gd name="T5" fmla="*/ 16 h 18"/>
                <a:gd name="T6" fmla="*/ 39 w 39"/>
                <a:gd name="T7" fmla="*/ 18 h 18"/>
                <a:gd name="T8" fmla="*/ 0 w 39"/>
                <a:gd name="T9" fmla="*/ 1 h 18"/>
                <a:gd name="T10" fmla="*/ 13 w 39"/>
                <a:gd name="T11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18">
                  <a:moveTo>
                    <a:pt x="13" y="13"/>
                  </a:moveTo>
                  <a:cubicBezTo>
                    <a:pt x="13" y="13"/>
                    <a:pt x="13" y="13"/>
                    <a:pt x="13" y="13"/>
                  </a:cubicBezTo>
                  <a:cubicBezTo>
                    <a:pt x="17" y="12"/>
                    <a:pt x="20" y="13"/>
                    <a:pt x="22" y="16"/>
                  </a:cubicBezTo>
                  <a:cubicBezTo>
                    <a:pt x="27" y="16"/>
                    <a:pt x="33" y="17"/>
                    <a:pt x="39" y="18"/>
                  </a:cubicBezTo>
                  <a:cubicBezTo>
                    <a:pt x="30" y="6"/>
                    <a:pt x="15" y="0"/>
                    <a:pt x="0" y="1"/>
                  </a:cubicBezTo>
                  <a:cubicBezTo>
                    <a:pt x="5" y="5"/>
                    <a:pt x="9" y="9"/>
                    <a:pt x="13" y="13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2" name="Freeform 131">
              <a:extLst>
                <a:ext uri="{FF2B5EF4-FFF2-40B4-BE49-F238E27FC236}">
                  <a16:creationId xmlns:a16="http://schemas.microsoft.com/office/drawing/2014/main" id="{7DE145D6-A98F-4ECE-ACC3-E4CB4A16C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8125" y="4357688"/>
              <a:ext cx="119063" cy="206375"/>
            </a:xfrm>
            <a:custGeom>
              <a:avLst/>
              <a:gdLst>
                <a:gd name="T0" fmla="*/ 2 w 32"/>
                <a:gd name="T1" fmla="*/ 0 h 55"/>
                <a:gd name="T2" fmla="*/ 0 w 32"/>
                <a:gd name="T3" fmla="*/ 2 h 55"/>
                <a:gd name="T4" fmla="*/ 9 w 32"/>
                <a:gd name="T5" fmla="*/ 22 h 55"/>
                <a:gd name="T6" fmla="*/ 10 w 32"/>
                <a:gd name="T7" fmla="*/ 37 h 55"/>
                <a:gd name="T8" fmla="*/ 14 w 32"/>
                <a:gd name="T9" fmla="*/ 41 h 55"/>
                <a:gd name="T10" fmla="*/ 13 w 32"/>
                <a:gd name="T11" fmla="*/ 46 h 55"/>
                <a:gd name="T12" fmla="*/ 19 w 32"/>
                <a:gd name="T13" fmla="*/ 55 h 55"/>
                <a:gd name="T14" fmla="*/ 28 w 32"/>
                <a:gd name="T15" fmla="*/ 14 h 55"/>
                <a:gd name="T16" fmla="*/ 23 w 32"/>
                <a:gd name="T17" fmla="*/ 3 h 55"/>
                <a:gd name="T18" fmla="*/ 2 w 32"/>
                <a:gd name="T1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5">
                  <a:moveTo>
                    <a:pt x="2" y="0"/>
                  </a:moveTo>
                  <a:cubicBezTo>
                    <a:pt x="2" y="1"/>
                    <a:pt x="1" y="2"/>
                    <a:pt x="0" y="2"/>
                  </a:cubicBezTo>
                  <a:cubicBezTo>
                    <a:pt x="4" y="8"/>
                    <a:pt x="7" y="15"/>
                    <a:pt x="9" y="22"/>
                  </a:cubicBezTo>
                  <a:cubicBezTo>
                    <a:pt x="10" y="27"/>
                    <a:pt x="10" y="32"/>
                    <a:pt x="10" y="37"/>
                  </a:cubicBezTo>
                  <a:cubicBezTo>
                    <a:pt x="12" y="38"/>
                    <a:pt x="13" y="39"/>
                    <a:pt x="14" y="41"/>
                  </a:cubicBezTo>
                  <a:cubicBezTo>
                    <a:pt x="14" y="43"/>
                    <a:pt x="14" y="45"/>
                    <a:pt x="13" y="46"/>
                  </a:cubicBezTo>
                  <a:cubicBezTo>
                    <a:pt x="15" y="49"/>
                    <a:pt x="17" y="52"/>
                    <a:pt x="19" y="55"/>
                  </a:cubicBezTo>
                  <a:cubicBezTo>
                    <a:pt x="28" y="44"/>
                    <a:pt x="32" y="29"/>
                    <a:pt x="28" y="14"/>
                  </a:cubicBezTo>
                  <a:cubicBezTo>
                    <a:pt x="27" y="10"/>
                    <a:pt x="25" y="6"/>
                    <a:pt x="23" y="3"/>
                  </a:cubicBezTo>
                  <a:cubicBezTo>
                    <a:pt x="16" y="1"/>
                    <a:pt x="8" y="0"/>
                    <a:pt x="2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Freeform 132">
              <a:extLst>
                <a:ext uri="{FF2B5EF4-FFF2-40B4-BE49-F238E27FC236}">
                  <a16:creationId xmlns:a16="http://schemas.microsoft.com/office/drawing/2014/main" id="{C4AF0D7F-ABD6-4CF5-B35E-958A8486599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763" y="4286250"/>
              <a:ext cx="192088" cy="142875"/>
            </a:xfrm>
            <a:custGeom>
              <a:avLst/>
              <a:gdLst>
                <a:gd name="T0" fmla="*/ 10 w 51"/>
                <a:gd name="T1" fmla="*/ 37 h 38"/>
                <a:gd name="T2" fmla="*/ 15 w 51"/>
                <a:gd name="T3" fmla="*/ 31 h 38"/>
                <a:gd name="T4" fmla="*/ 19 w 51"/>
                <a:gd name="T5" fmla="*/ 32 h 38"/>
                <a:gd name="T6" fmla="*/ 30 w 51"/>
                <a:gd name="T7" fmla="*/ 24 h 38"/>
                <a:gd name="T8" fmla="*/ 50 w 51"/>
                <a:gd name="T9" fmla="*/ 16 h 38"/>
                <a:gd name="T10" fmla="*/ 51 w 51"/>
                <a:gd name="T11" fmla="*/ 14 h 38"/>
                <a:gd name="T12" fmla="*/ 35 w 51"/>
                <a:gd name="T13" fmla="*/ 0 h 38"/>
                <a:gd name="T14" fmla="*/ 33 w 51"/>
                <a:gd name="T15" fmla="*/ 1 h 38"/>
                <a:gd name="T16" fmla="*/ 0 w 51"/>
                <a:gd name="T17" fmla="*/ 38 h 38"/>
                <a:gd name="T18" fmla="*/ 10 w 51"/>
                <a:gd name="T19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38">
                  <a:moveTo>
                    <a:pt x="10" y="37"/>
                  </a:moveTo>
                  <a:cubicBezTo>
                    <a:pt x="10" y="34"/>
                    <a:pt x="12" y="32"/>
                    <a:pt x="15" y="31"/>
                  </a:cubicBezTo>
                  <a:cubicBezTo>
                    <a:pt x="16" y="31"/>
                    <a:pt x="18" y="31"/>
                    <a:pt x="19" y="32"/>
                  </a:cubicBezTo>
                  <a:cubicBezTo>
                    <a:pt x="22" y="29"/>
                    <a:pt x="26" y="26"/>
                    <a:pt x="30" y="24"/>
                  </a:cubicBezTo>
                  <a:cubicBezTo>
                    <a:pt x="36" y="20"/>
                    <a:pt x="43" y="17"/>
                    <a:pt x="50" y="16"/>
                  </a:cubicBezTo>
                  <a:cubicBezTo>
                    <a:pt x="50" y="15"/>
                    <a:pt x="51" y="14"/>
                    <a:pt x="51" y="14"/>
                  </a:cubicBezTo>
                  <a:cubicBezTo>
                    <a:pt x="47" y="9"/>
                    <a:pt x="41" y="5"/>
                    <a:pt x="35" y="0"/>
                  </a:cubicBezTo>
                  <a:cubicBezTo>
                    <a:pt x="34" y="0"/>
                    <a:pt x="34" y="1"/>
                    <a:pt x="33" y="1"/>
                  </a:cubicBezTo>
                  <a:cubicBezTo>
                    <a:pt x="15" y="6"/>
                    <a:pt x="3" y="21"/>
                    <a:pt x="0" y="38"/>
                  </a:cubicBezTo>
                  <a:cubicBezTo>
                    <a:pt x="2" y="38"/>
                    <a:pt x="6" y="37"/>
                    <a:pt x="10" y="37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4" name="Freeform 133">
              <a:extLst>
                <a:ext uri="{FF2B5EF4-FFF2-40B4-BE49-F238E27FC236}">
                  <a16:creationId xmlns:a16="http://schemas.microsoft.com/office/drawing/2014/main" id="{673E76B8-FF84-4F02-BABD-938B68041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0638" y="4440238"/>
              <a:ext cx="231775" cy="203200"/>
            </a:xfrm>
            <a:custGeom>
              <a:avLst/>
              <a:gdLst>
                <a:gd name="T0" fmla="*/ 54 w 62"/>
                <a:gd name="T1" fmla="*/ 48 h 54"/>
                <a:gd name="T2" fmla="*/ 62 w 62"/>
                <a:gd name="T3" fmla="*/ 27 h 54"/>
                <a:gd name="T4" fmla="*/ 58 w 62"/>
                <a:gd name="T5" fmla="*/ 23 h 54"/>
                <a:gd name="T6" fmla="*/ 59 w 62"/>
                <a:gd name="T7" fmla="*/ 18 h 54"/>
                <a:gd name="T8" fmla="*/ 18 w 62"/>
                <a:gd name="T9" fmla="*/ 0 h 54"/>
                <a:gd name="T10" fmla="*/ 14 w 62"/>
                <a:gd name="T11" fmla="*/ 3 h 54"/>
                <a:gd name="T12" fmla="*/ 11 w 62"/>
                <a:gd name="T13" fmla="*/ 3 h 54"/>
                <a:gd name="T14" fmla="*/ 0 w 62"/>
                <a:gd name="T15" fmla="*/ 24 h 54"/>
                <a:gd name="T16" fmla="*/ 54 w 62"/>
                <a:gd name="T17" fmla="*/ 48 h 54"/>
                <a:gd name="T18" fmla="*/ 54 w 62"/>
                <a:gd name="T19" fmla="*/ 4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54">
                  <a:moveTo>
                    <a:pt x="54" y="48"/>
                  </a:moveTo>
                  <a:cubicBezTo>
                    <a:pt x="56" y="44"/>
                    <a:pt x="60" y="37"/>
                    <a:pt x="62" y="27"/>
                  </a:cubicBezTo>
                  <a:cubicBezTo>
                    <a:pt x="60" y="26"/>
                    <a:pt x="59" y="25"/>
                    <a:pt x="58" y="23"/>
                  </a:cubicBezTo>
                  <a:cubicBezTo>
                    <a:pt x="58" y="21"/>
                    <a:pt x="58" y="19"/>
                    <a:pt x="59" y="18"/>
                  </a:cubicBezTo>
                  <a:cubicBezTo>
                    <a:pt x="46" y="5"/>
                    <a:pt x="31" y="0"/>
                    <a:pt x="18" y="0"/>
                  </a:cubicBezTo>
                  <a:cubicBezTo>
                    <a:pt x="18" y="1"/>
                    <a:pt x="16" y="3"/>
                    <a:pt x="14" y="3"/>
                  </a:cubicBezTo>
                  <a:cubicBezTo>
                    <a:pt x="13" y="4"/>
                    <a:pt x="12" y="4"/>
                    <a:pt x="11" y="3"/>
                  </a:cubicBezTo>
                  <a:cubicBezTo>
                    <a:pt x="5" y="11"/>
                    <a:pt x="2" y="19"/>
                    <a:pt x="0" y="24"/>
                  </a:cubicBezTo>
                  <a:cubicBezTo>
                    <a:pt x="10" y="44"/>
                    <a:pt x="32" y="54"/>
                    <a:pt x="54" y="48"/>
                  </a:cubicBezTo>
                  <a:cubicBezTo>
                    <a:pt x="54" y="48"/>
                    <a:pt x="54" y="48"/>
                    <a:pt x="54" y="48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Freeform 134">
              <a:extLst>
                <a:ext uri="{FF2B5EF4-FFF2-40B4-BE49-F238E27FC236}">
                  <a16:creationId xmlns:a16="http://schemas.microsoft.com/office/drawing/2014/main" id="{3A70AAFD-35E7-4EE4-85DF-7549D4CE9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1588" y="4440238"/>
              <a:ext cx="44450" cy="68263"/>
            </a:xfrm>
            <a:custGeom>
              <a:avLst/>
              <a:gdLst>
                <a:gd name="T0" fmla="*/ 12 w 12"/>
                <a:gd name="T1" fmla="*/ 1 h 18"/>
                <a:gd name="T2" fmla="*/ 12 w 12"/>
                <a:gd name="T3" fmla="*/ 0 h 18"/>
                <a:gd name="T4" fmla="*/ 1 w 12"/>
                <a:gd name="T5" fmla="*/ 2 h 18"/>
                <a:gd name="T6" fmla="*/ 2 w 12"/>
                <a:gd name="T7" fmla="*/ 16 h 18"/>
                <a:gd name="T8" fmla="*/ 3 w 12"/>
                <a:gd name="T9" fmla="*/ 18 h 18"/>
                <a:gd name="T10" fmla="*/ 12 w 12"/>
                <a:gd name="T11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8">
                  <a:moveTo>
                    <a:pt x="12" y="1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7" y="1"/>
                    <a:pt x="3" y="2"/>
                    <a:pt x="1" y="2"/>
                  </a:cubicBezTo>
                  <a:cubicBezTo>
                    <a:pt x="0" y="7"/>
                    <a:pt x="1" y="12"/>
                    <a:pt x="2" y="16"/>
                  </a:cubicBezTo>
                  <a:cubicBezTo>
                    <a:pt x="2" y="17"/>
                    <a:pt x="2" y="17"/>
                    <a:pt x="3" y="18"/>
                  </a:cubicBezTo>
                  <a:cubicBezTo>
                    <a:pt x="5" y="13"/>
                    <a:pt x="8" y="7"/>
                    <a:pt x="12" y="1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6" name="Rectangle 135">
              <a:extLst>
                <a:ext uri="{FF2B5EF4-FFF2-40B4-BE49-F238E27FC236}">
                  <a16:creationId xmlns:a16="http://schemas.microsoft.com/office/drawing/2014/main" id="{9DD3BD01-9AA0-43FD-AEC5-A23F5F7B7F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1588" y="4684713"/>
              <a:ext cx="90488" cy="41275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Rectangle 136">
              <a:extLst>
                <a:ext uri="{FF2B5EF4-FFF2-40B4-BE49-F238E27FC236}">
                  <a16:creationId xmlns:a16="http://schemas.microsoft.com/office/drawing/2014/main" id="{1680B3BA-3D92-469A-9F6B-EC6B552CC5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0350" y="4684713"/>
              <a:ext cx="90488" cy="41275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68" name="Freeform 137">
              <a:extLst>
                <a:ext uri="{FF2B5EF4-FFF2-40B4-BE49-F238E27FC236}">
                  <a16:creationId xmlns:a16="http://schemas.microsoft.com/office/drawing/2014/main" id="{D573726B-6675-46D8-9FAD-B90AC1EB0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4300" y="4646613"/>
              <a:ext cx="119063" cy="79375"/>
            </a:xfrm>
            <a:custGeom>
              <a:avLst/>
              <a:gdLst>
                <a:gd name="T0" fmla="*/ 54 w 75"/>
                <a:gd name="T1" fmla="*/ 24 h 50"/>
                <a:gd name="T2" fmla="*/ 54 w 75"/>
                <a:gd name="T3" fmla="*/ 0 h 50"/>
                <a:gd name="T4" fmla="*/ 23 w 75"/>
                <a:gd name="T5" fmla="*/ 0 h 50"/>
                <a:gd name="T6" fmla="*/ 23 w 75"/>
                <a:gd name="T7" fmla="*/ 24 h 50"/>
                <a:gd name="T8" fmla="*/ 0 w 75"/>
                <a:gd name="T9" fmla="*/ 24 h 50"/>
                <a:gd name="T10" fmla="*/ 0 w 75"/>
                <a:gd name="T11" fmla="*/ 50 h 50"/>
                <a:gd name="T12" fmla="*/ 75 w 75"/>
                <a:gd name="T13" fmla="*/ 50 h 50"/>
                <a:gd name="T14" fmla="*/ 75 w 75"/>
                <a:gd name="T15" fmla="*/ 24 h 50"/>
                <a:gd name="T16" fmla="*/ 54 w 75"/>
                <a:gd name="T17" fmla="*/ 2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50">
                  <a:moveTo>
                    <a:pt x="54" y="24"/>
                  </a:moveTo>
                  <a:lnTo>
                    <a:pt x="54" y="0"/>
                  </a:lnTo>
                  <a:lnTo>
                    <a:pt x="23" y="0"/>
                  </a:lnTo>
                  <a:lnTo>
                    <a:pt x="23" y="24"/>
                  </a:lnTo>
                  <a:lnTo>
                    <a:pt x="0" y="24"/>
                  </a:lnTo>
                  <a:lnTo>
                    <a:pt x="0" y="50"/>
                  </a:lnTo>
                  <a:lnTo>
                    <a:pt x="75" y="50"/>
                  </a:lnTo>
                  <a:lnTo>
                    <a:pt x="75" y="24"/>
                  </a:lnTo>
                  <a:lnTo>
                    <a:pt x="54" y="24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69" name="Group 12487">
            <a:extLst>
              <a:ext uri="{FF2B5EF4-FFF2-40B4-BE49-F238E27FC236}">
                <a16:creationId xmlns:a16="http://schemas.microsoft.com/office/drawing/2014/main" id="{928774BA-F38A-4075-8E8A-C7FCFB4A14C9}"/>
              </a:ext>
            </a:extLst>
          </p:cNvPr>
          <p:cNvGrpSpPr/>
          <p:nvPr userDrawn="1"/>
        </p:nvGrpSpPr>
        <p:grpSpPr>
          <a:xfrm>
            <a:off x="8095692" y="3642484"/>
            <a:ext cx="293004" cy="374246"/>
            <a:chOff x="8750300" y="4279900"/>
            <a:chExt cx="349251" cy="446088"/>
          </a:xfrm>
        </p:grpSpPr>
        <p:sp>
          <p:nvSpPr>
            <p:cNvPr id="170" name="Freeform 138">
              <a:extLst>
                <a:ext uri="{FF2B5EF4-FFF2-40B4-BE49-F238E27FC236}">
                  <a16:creationId xmlns:a16="http://schemas.microsoft.com/office/drawing/2014/main" id="{4CF480E8-86CB-4167-A4DB-31298D836AF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12225" y="4349750"/>
              <a:ext cx="6350" cy="15875"/>
            </a:xfrm>
            <a:custGeom>
              <a:avLst/>
              <a:gdLst>
                <a:gd name="T0" fmla="*/ 0 w 4"/>
                <a:gd name="T1" fmla="*/ 5 h 10"/>
                <a:gd name="T2" fmla="*/ 2 w 4"/>
                <a:gd name="T3" fmla="*/ 5 h 10"/>
                <a:gd name="T4" fmla="*/ 2 w 4"/>
                <a:gd name="T5" fmla="*/ 8 h 10"/>
                <a:gd name="T6" fmla="*/ 2 w 4"/>
                <a:gd name="T7" fmla="*/ 8 h 10"/>
                <a:gd name="T8" fmla="*/ 0 w 4"/>
                <a:gd name="T9" fmla="*/ 8 h 10"/>
                <a:gd name="T10" fmla="*/ 0 w 4"/>
                <a:gd name="T11" fmla="*/ 8 h 10"/>
                <a:gd name="T12" fmla="*/ 0 w 4"/>
                <a:gd name="T13" fmla="*/ 8 h 10"/>
                <a:gd name="T14" fmla="*/ 0 w 4"/>
                <a:gd name="T15" fmla="*/ 10 h 10"/>
                <a:gd name="T16" fmla="*/ 0 w 4"/>
                <a:gd name="T17" fmla="*/ 10 h 10"/>
                <a:gd name="T18" fmla="*/ 0 w 4"/>
                <a:gd name="T19" fmla="*/ 10 h 10"/>
                <a:gd name="T20" fmla="*/ 2 w 4"/>
                <a:gd name="T21" fmla="*/ 10 h 10"/>
                <a:gd name="T22" fmla="*/ 2 w 4"/>
                <a:gd name="T23" fmla="*/ 10 h 10"/>
                <a:gd name="T24" fmla="*/ 4 w 4"/>
                <a:gd name="T25" fmla="*/ 10 h 10"/>
                <a:gd name="T26" fmla="*/ 4 w 4"/>
                <a:gd name="T27" fmla="*/ 10 h 10"/>
                <a:gd name="T28" fmla="*/ 4 w 4"/>
                <a:gd name="T29" fmla="*/ 10 h 10"/>
                <a:gd name="T30" fmla="*/ 4 w 4"/>
                <a:gd name="T31" fmla="*/ 8 h 10"/>
                <a:gd name="T32" fmla="*/ 4 w 4"/>
                <a:gd name="T33" fmla="*/ 8 h 10"/>
                <a:gd name="T34" fmla="*/ 4 w 4"/>
                <a:gd name="T35" fmla="*/ 8 h 10"/>
                <a:gd name="T36" fmla="*/ 2 w 4"/>
                <a:gd name="T37" fmla="*/ 5 h 10"/>
                <a:gd name="T38" fmla="*/ 2 w 4"/>
                <a:gd name="T39" fmla="*/ 5 h 10"/>
                <a:gd name="T40" fmla="*/ 2 w 4"/>
                <a:gd name="T41" fmla="*/ 3 h 10"/>
                <a:gd name="T42" fmla="*/ 4 w 4"/>
                <a:gd name="T43" fmla="*/ 3 h 10"/>
                <a:gd name="T44" fmla="*/ 2 w 4"/>
                <a:gd name="T45" fmla="*/ 3 h 10"/>
                <a:gd name="T46" fmla="*/ 2 w 4"/>
                <a:gd name="T47" fmla="*/ 0 h 10"/>
                <a:gd name="T48" fmla="*/ 2 w 4"/>
                <a:gd name="T49" fmla="*/ 0 h 10"/>
                <a:gd name="T50" fmla="*/ 2 w 4"/>
                <a:gd name="T51" fmla="*/ 3 h 10"/>
                <a:gd name="T52" fmla="*/ 0 w 4"/>
                <a:gd name="T53" fmla="*/ 3 h 10"/>
                <a:gd name="T54" fmla="*/ 0 w 4"/>
                <a:gd name="T55" fmla="*/ 3 h 10"/>
                <a:gd name="T56" fmla="*/ 0 w 4"/>
                <a:gd name="T57" fmla="*/ 3 h 10"/>
                <a:gd name="T58" fmla="*/ 0 w 4"/>
                <a:gd name="T59" fmla="*/ 5 h 10"/>
                <a:gd name="T60" fmla="*/ 0 w 4"/>
                <a:gd name="T61" fmla="*/ 5 h 10"/>
                <a:gd name="T62" fmla="*/ 0 w 4"/>
                <a:gd name="T6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" h="10">
                  <a:moveTo>
                    <a:pt x="0" y="5"/>
                  </a:moveTo>
                  <a:lnTo>
                    <a:pt x="2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4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Freeform 139">
              <a:extLst>
                <a:ext uri="{FF2B5EF4-FFF2-40B4-BE49-F238E27FC236}">
                  <a16:creationId xmlns:a16="http://schemas.microsoft.com/office/drawing/2014/main" id="{0A08FA42-1D5F-47F1-BEE6-45AD78E83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8940800" y="4398963"/>
              <a:ext cx="4763" cy="0"/>
            </a:xfrm>
            <a:custGeom>
              <a:avLst/>
              <a:gdLst>
                <a:gd name="T0" fmla="*/ 0 w 3"/>
                <a:gd name="T1" fmla="*/ 0 w 3"/>
                <a:gd name="T2" fmla="*/ 0 w 3"/>
                <a:gd name="T3" fmla="*/ 0 w 3"/>
                <a:gd name="T4" fmla="*/ 3 w 3"/>
                <a:gd name="T5" fmla="*/ 3 w 3"/>
                <a:gd name="T6" fmla="*/ 3 w 3"/>
                <a:gd name="T7" fmla="*/ 3 w 3"/>
                <a:gd name="T8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Freeform 140">
              <a:extLst>
                <a:ext uri="{FF2B5EF4-FFF2-40B4-BE49-F238E27FC236}">
                  <a16:creationId xmlns:a16="http://schemas.microsoft.com/office/drawing/2014/main" id="{4454F6C5-E6A3-4154-926B-92F0B5FA2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4450" y="4354513"/>
              <a:ext cx="0" cy="3175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2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Freeform 141">
              <a:extLst>
                <a:ext uri="{FF2B5EF4-FFF2-40B4-BE49-F238E27FC236}">
                  <a16:creationId xmlns:a16="http://schemas.microsoft.com/office/drawing/2014/main" id="{C5A4CBD3-66D5-4903-ADA8-6970E3C69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4288" y="4357688"/>
              <a:ext cx="7938" cy="4763"/>
            </a:xfrm>
            <a:custGeom>
              <a:avLst/>
              <a:gdLst>
                <a:gd name="T0" fmla="*/ 2 w 5"/>
                <a:gd name="T1" fmla="*/ 3 h 3"/>
                <a:gd name="T2" fmla="*/ 2 w 5"/>
                <a:gd name="T3" fmla="*/ 3 h 3"/>
                <a:gd name="T4" fmla="*/ 2 w 5"/>
                <a:gd name="T5" fmla="*/ 3 h 3"/>
                <a:gd name="T6" fmla="*/ 2 w 5"/>
                <a:gd name="T7" fmla="*/ 3 h 3"/>
                <a:gd name="T8" fmla="*/ 5 w 5"/>
                <a:gd name="T9" fmla="*/ 3 h 3"/>
                <a:gd name="T10" fmla="*/ 5 w 5"/>
                <a:gd name="T11" fmla="*/ 0 h 3"/>
                <a:gd name="T12" fmla="*/ 2 w 5"/>
                <a:gd name="T13" fmla="*/ 0 h 3"/>
                <a:gd name="T14" fmla="*/ 2 w 5"/>
                <a:gd name="T15" fmla="*/ 0 h 3"/>
                <a:gd name="T16" fmla="*/ 2 w 5"/>
                <a:gd name="T17" fmla="*/ 0 h 3"/>
                <a:gd name="T18" fmla="*/ 0 w 5"/>
                <a:gd name="T19" fmla="*/ 0 h 3"/>
                <a:gd name="T20" fmla="*/ 0 w 5"/>
                <a:gd name="T21" fmla="*/ 3 h 3"/>
                <a:gd name="T22" fmla="*/ 0 w 5"/>
                <a:gd name="T23" fmla="*/ 3 h 3"/>
                <a:gd name="T24" fmla="*/ 0 w 5"/>
                <a:gd name="T25" fmla="*/ 3 h 3"/>
                <a:gd name="T26" fmla="*/ 0 w 5"/>
                <a:gd name="T27" fmla="*/ 3 h 3"/>
                <a:gd name="T28" fmla="*/ 0 w 5"/>
                <a:gd name="T29" fmla="*/ 3 h 3"/>
                <a:gd name="T30" fmla="*/ 2 w 5"/>
                <a:gd name="T3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Freeform 142">
              <a:extLst>
                <a:ext uri="{FF2B5EF4-FFF2-40B4-BE49-F238E27FC236}">
                  <a16:creationId xmlns:a16="http://schemas.microsoft.com/office/drawing/2014/main" id="{9A44F463-DEFD-4B4B-9B19-BD5A4C1F56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53475" y="4279900"/>
              <a:ext cx="341313" cy="341313"/>
            </a:xfrm>
            <a:custGeom>
              <a:avLst/>
              <a:gdLst>
                <a:gd name="T0" fmla="*/ 21 w 91"/>
                <a:gd name="T1" fmla="*/ 67 h 91"/>
                <a:gd name="T2" fmla="*/ 21 w 91"/>
                <a:gd name="T3" fmla="*/ 60 h 91"/>
                <a:gd name="T4" fmla="*/ 17 w 91"/>
                <a:gd name="T5" fmla="*/ 54 h 91"/>
                <a:gd name="T6" fmla="*/ 12 w 91"/>
                <a:gd name="T7" fmla="*/ 46 h 91"/>
                <a:gd name="T8" fmla="*/ 10 w 91"/>
                <a:gd name="T9" fmla="*/ 40 h 91"/>
                <a:gd name="T10" fmla="*/ 23 w 91"/>
                <a:gd name="T11" fmla="*/ 19 h 91"/>
                <a:gd name="T12" fmla="*/ 27 w 91"/>
                <a:gd name="T13" fmla="*/ 18 h 91"/>
                <a:gd name="T14" fmla="*/ 31 w 91"/>
                <a:gd name="T15" fmla="*/ 12 h 91"/>
                <a:gd name="T16" fmla="*/ 34 w 91"/>
                <a:gd name="T17" fmla="*/ 11 h 91"/>
                <a:gd name="T18" fmla="*/ 34 w 91"/>
                <a:gd name="T19" fmla="*/ 13 h 91"/>
                <a:gd name="T20" fmla="*/ 35 w 91"/>
                <a:gd name="T21" fmla="*/ 15 h 91"/>
                <a:gd name="T22" fmla="*/ 41 w 91"/>
                <a:gd name="T23" fmla="*/ 13 h 91"/>
                <a:gd name="T24" fmla="*/ 59 w 91"/>
                <a:gd name="T25" fmla="*/ 13 h 91"/>
                <a:gd name="T26" fmla="*/ 56 w 91"/>
                <a:gd name="T27" fmla="*/ 16 h 91"/>
                <a:gd name="T28" fmla="*/ 51 w 91"/>
                <a:gd name="T29" fmla="*/ 14 h 91"/>
                <a:gd name="T30" fmla="*/ 46 w 91"/>
                <a:gd name="T31" fmla="*/ 19 h 91"/>
                <a:gd name="T32" fmla="*/ 51 w 91"/>
                <a:gd name="T33" fmla="*/ 21 h 91"/>
                <a:gd name="T34" fmla="*/ 52 w 91"/>
                <a:gd name="T35" fmla="*/ 16 h 91"/>
                <a:gd name="T36" fmla="*/ 55 w 91"/>
                <a:gd name="T37" fmla="*/ 19 h 91"/>
                <a:gd name="T38" fmla="*/ 52 w 91"/>
                <a:gd name="T39" fmla="*/ 22 h 91"/>
                <a:gd name="T40" fmla="*/ 46 w 91"/>
                <a:gd name="T41" fmla="*/ 22 h 91"/>
                <a:gd name="T42" fmla="*/ 42 w 91"/>
                <a:gd name="T43" fmla="*/ 24 h 91"/>
                <a:gd name="T44" fmla="*/ 41 w 91"/>
                <a:gd name="T45" fmla="*/ 28 h 91"/>
                <a:gd name="T46" fmla="*/ 38 w 91"/>
                <a:gd name="T47" fmla="*/ 31 h 91"/>
                <a:gd name="T48" fmla="*/ 42 w 91"/>
                <a:gd name="T49" fmla="*/ 31 h 91"/>
                <a:gd name="T50" fmla="*/ 46 w 91"/>
                <a:gd name="T51" fmla="*/ 28 h 91"/>
                <a:gd name="T52" fmla="*/ 51 w 91"/>
                <a:gd name="T53" fmla="*/ 31 h 91"/>
                <a:gd name="T54" fmla="*/ 51 w 91"/>
                <a:gd name="T55" fmla="*/ 29 h 91"/>
                <a:gd name="T56" fmla="*/ 52 w 91"/>
                <a:gd name="T57" fmla="*/ 29 h 91"/>
                <a:gd name="T58" fmla="*/ 55 w 91"/>
                <a:gd name="T59" fmla="*/ 30 h 91"/>
                <a:gd name="T60" fmla="*/ 58 w 91"/>
                <a:gd name="T61" fmla="*/ 32 h 91"/>
                <a:gd name="T62" fmla="*/ 62 w 91"/>
                <a:gd name="T63" fmla="*/ 35 h 91"/>
                <a:gd name="T64" fmla="*/ 54 w 91"/>
                <a:gd name="T65" fmla="*/ 35 h 91"/>
                <a:gd name="T66" fmla="*/ 48 w 91"/>
                <a:gd name="T67" fmla="*/ 34 h 91"/>
                <a:gd name="T68" fmla="*/ 41 w 91"/>
                <a:gd name="T69" fmla="*/ 33 h 91"/>
                <a:gd name="T70" fmla="*/ 35 w 91"/>
                <a:gd name="T71" fmla="*/ 36 h 91"/>
                <a:gd name="T72" fmla="*/ 31 w 91"/>
                <a:gd name="T73" fmla="*/ 42 h 91"/>
                <a:gd name="T74" fmla="*/ 31 w 91"/>
                <a:gd name="T75" fmla="*/ 50 h 91"/>
                <a:gd name="T76" fmla="*/ 40 w 91"/>
                <a:gd name="T77" fmla="*/ 55 h 91"/>
                <a:gd name="T78" fmla="*/ 47 w 91"/>
                <a:gd name="T79" fmla="*/ 56 h 91"/>
                <a:gd name="T80" fmla="*/ 49 w 91"/>
                <a:gd name="T81" fmla="*/ 61 h 91"/>
                <a:gd name="T82" fmla="*/ 49 w 91"/>
                <a:gd name="T83" fmla="*/ 68 h 91"/>
                <a:gd name="T84" fmla="*/ 51 w 91"/>
                <a:gd name="T85" fmla="*/ 74 h 91"/>
                <a:gd name="T86" fmla="*/ 57 w 91"/>
                <a:gd name="T87" fmla="*/ 76 h 91"/>
                <a:gd name="T88" fmla="*/ 63 w 91"/>
                <a:gd name="T89" fmla="*/ 71 h 91"/>
                <a:gd name="T90" fmla="*/ 68 w 91"/>
                <a:gd name="T91" fmla="*/ 64 h 91"/>
                <a:gd name="T92" fmla="*/ 71 w 91"/>
                <a:gd name="T93" fmla="*/ 53 h 91"/>
                <a:gd name="T94" fmla="*/ 72 w 91"/>
                <a:gd name="T95" fmla="*/ 47 h 91"/>
                <a:gd name="T96" fmla="*/ 66 w 91"/>
                <a:gd name="T97" fmla="*/ 44 h 91"/>
                <a:gd name="T98" fmla="*/ 63 w 91"/>
                <a:gd name="T99" fmla="*/ 38 h 91"/>
                <a:gd name="T100" fmla="*/ 68 w 91"/>
                <a:gd name="T101" fmla="*/ 46 h 91"/>
                <a:gd name="T102" fmla="*/ 74 w 91"/>
                <a:gd name="T103" fmla="*/ 43 h 91"/>
                <a:gd name="T104" fmla="*/ 74 w 91"/>
                <a:gd name="T105" fmla="*/ 37 h 91"/>
                <a:gd name="T106" fmla="*/ 69 w 91"/>
                <a:gd name="T107" fmla="*/ 35 h 91"/>
                <a:gd name="T108" fmla="*/ 74 w 91"/>
                <a:gd name="T109" fmla="*/ 35 h 91"/>
                <a:gd name="T110" fmla="*/ 80 w 91"/>
                <a:gd name="T111" fmla="*/ 35 h 91"/>
                <a:gd name="T112" fmla="*/ 76 w 91"/>
                <a:gd name="T113" fmla="*/ 66 h 91"/>
                <a:gd name="T114" fmla="*/ 57 w 91"/>
                <a:gd name="T115" fmla="*/ 28 h 91"/>
                <a:gd name="T116" fmla="*/ 59 w 91"/>
                <a:gd name="T117" fmla="*/ 27 h 91"/>
                <a:gd name="T118" fmla="*/ 63 w 91"/>
                <a:gd name="T119" fmla="*/ 27 h 91"/>
                <a:gd name="T120" fmla="*/ 59 w 91"/>
                <a:gd name="T121" fmla="*/ 28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" h="91">
                  <a:moveTo>
                    <a:pt x="46" y="91"/>
                  </a:moveTo>
                  <a:cubicBezTo>
                    <a:pt x="71" y="91"/>
                    <a:pt x="91" y="71"/>
                    <a:pt x="91" y="46"/>
                  </a:cubicBezTo>
                  <a:cubicBezTo>
                    <a:pt x="91" y="21"/>
                    <a:pt x="71" y="0"/>
                    <a:pt x="46" y="0"/>
                  </a:cubicBezTo>
                  <a:cubicBezTo>
                    <a:pt x="21" y="0"/>
                    <a:pt x="0" y="21"/>
                    <a:pt x="0" y="46"/>
                  </a:cubicBezTo>
                  <a:cubicBezTo>
                    <a:pt x="0" y="71"/>
                    <a:pt x="21" y="91"/>
                    <a:pt x="46" y="91"/>
                  </a:cubicBezTo>
                  <a:close/>
                  <a:moveTo>
                    <a:pt x="18" y="69"/>
                  </a:moveTo>
                  <a:cubicBezTo>
                    <a:pt x="18" y="68"/>
                    <a:pt x="18" y="68"/>
                    <a:pt x="18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0" y="67"/>
                    <a:pt x="20" y="67"/>
                    <a:pt x="20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0" y="63"/>
                    <a:pt x="20" y="63"/>
                    <a:pt x="20" y="63"/>
                  </a:cubicBezTo>
                  <a:cubicBezTo>
                    <a:pt x="20" y="63"/>
                    <a:pt x="20" y="63"/>
                    <a:pt x="20" y="63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7" y="53"/>
                    <a:pt x="17" y="53"/>
                    <a:pt x="17" y="53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1" y="32"/>
                    <a:pt x="14" y="26"/>
                    <a:pt x="19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4" y="18"/>
                    <a:pt x="24" y="18"/>
                    <a:pt x="24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30" y="13"/>
                    <a:pt x="30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6" y="11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39" y="13"/>
                    <a:pt x="39" y="13"/>
                    <a:pt x="39" y="13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51" y="10"/>
                    <a:pt x="53" y="10"/>
                    <a:pt x="55" y="11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4" y="14"/>
                    <a:pt x="54" y="14"/>
                    <a:pt x="54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51" y="21"/>
                    <a:pt x="51" y="21"/>
                    <a:pt x="51" y="21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9"/>
                    <a:pt x="55" y="19"/>
                    <a:pt x="55" y="19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8" y="22"/>
                    <a:pt x="48" y="22"/>
                    <a:pt x="48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3"/>
                    <a:pt x="62" y="33"/>
                    <a:pt x="62" y="33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5"/>
                    <a:pt x="44" y="55"/>
                    <a:pt x="44" y="55"/>
                  </a:cubicBezTo>
                  <a:cubicBezTo>
                    <a:pt x="45" y="55"/>
                    <a:pt x="45" y="55"/>
                    <a:pt x="45" y="55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5" y="56"/>
                    <a:pt x="45" y="56"/>
                    <a:pt x="45" y="56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7" y="58"/>
                    <a:pt x="47" y="58"/>
                    <a:pt x="47" y="58"/>
                  </a:cubicBezTo>
                  <a:cubicBezTo>
                    <a:pt x="47" y="59"/>
                    <a:pt x="47" y="59"/>
                    <a:pt x="47" y="59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50" y="69"/>
                    <a:pt x="50" y="69"/>
                    <a:pt x="50" y="69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60" y="74"/>
                    <a:pt x="60" y="74"/>
                    <a:pt x="60" y="74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5" y="43"/>
                    <a:pt x="65" y="43"/>
                    <a:pt x="65" y="43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4" y="41"/>
                    <a:pt x="64" y="41"/>
                    <a:pt x="64" y="41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5"/>
                    <a:pt x="73" y="35"/>
                    <a:pt x="73" y="35"/>
                  </a:cubicBezTo>
                  <a:cubicBezTo>
                    <a:pt x="73" y="35"/>
                    <a:pt x="73" y="35"/>
                    <a:pt x="73" y="35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5" y="36"/>
                    <a:pt x="75" y="36"/>
                    <a:pt x="75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34"/>
                    <a:pt x="78" y="34"/>
                    <a:pt x="78" y="34"/>
                  </a:cubicBezTo>
                  <a:cubicBezTo>
                    <a:pt x="79" y="34"/>
                    <a:pt x="79" y="34"/>
                    <a:pt x="79" y="34"/>
                  </a:cubicBezTo>
                  <a:cubicBezTo>
                    <a:pt x="79" y="35"/>
                    <a:pt x="79" y="35"/>
                    <a:pt x="79" y="35"/>
                  </a:cubicBezTo>
                  <a:cubicBezTo>
                    <a:pt x="80" y="35"/>
                    <a:pt x="80" y="35"/>
                    <a:pt x="80" y="35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80" y="37"/>
                    <a:pt x="80" y="37"/>
                    <a:pt x="80" y="37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6" y="66"/>
                    <a:pt x="76" y="66"/>
                    <a:pt x="76" y="66"/>
                  </a:cubicBezTo>
                  <a:cubicBezTo>
                    <a:pt x="76" y="66"/>
                    <a:pt x="76" y="66"/>
                    <a:pt x="76" y="66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6" y="76"/>
                    <a:pt x="66" y="76"/>
                    <a:pt x="66" y="76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57" y="81"/>
                    <a:pt x="52" y="82"/>
                    <a:pt x="46" y="82"/>
                  </a:cubicBezTo>
                  <a:cubicBezTo>
                    <a:pt x="35" y="82"/>
                    <a:pt x="25" y="77"/>
                    <a:pt x="19" y="70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lnTo>
                    <a:pt x="18" y="69"/>
                  </a:lnTo>
                  <a:close/>
                  <a:moveTo>
                    <a:pt x="57" y="28"/>
                  </a:moveTo>
                  <a:cubicBezTo>
                    <a:pt x="57" y="28"/>
                    <a:pt x="57" y="28"/>
                    <a:pt x="57" y="28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2" y="27"/>
                    <a:pt x="62" y="27"/>
                    <a:pt x="62" y="2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62" y="29"/>
                    <a:pt x="62" y="29"/>
                    <a:pt x="62" y="29"/>
                  </a:cubicBezTo>
                  <a:cubicBezTo>
                    <a:pt x="61" y="29"/>
                    <a:pt x="61" y="29"/>
                    <a:pt x="61" y="29"/>
                  </a:cubicBezTo>
                  <a:cubicBezTo>
                    <a:pt x="61" y="28"/>
                    <a:pt x="61" y="28"/>
                    <a:pt x="61" y="28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60" y="28"/>
                    <a:pt x="60" y="28"/>
                    <a:pt x="60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8" y="29"/>
                    <a:pt x="58" y="29"/>
                    <a:pt x="58" y="29"/>
                  </a:cubicBezTo>
                  <a:cubicBezTo>
                    <a:pt x="58" y="29"/>
                    <a:pt x="58" y="29"/>
                    <a:pt x="58" y="29"/>
                  </a:cubicBezTo>
                  <a:cubicBezTo>
                    <a:pt x="58" y="29"/>
                    <a:pt x="58" y="29"/>
                    <a:pt x="58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7" y="29"/>
                    <a:pt x="57" y="29"/>
                    <a:pt x="57" y="29"/>
                  </a:cubicBezTo>
                  <a:lnTo>
                    <a:pt x="57" y="28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Rectangle 143">
              <a:extLst>
                <a:ext uri="{FF2B5EF4-FFF2-40B4-BE49-F238E27FC236}">
                  <a16:creationId xmlns:a16="http://schemas.microsoft.com/office/drawing/2014/main" id="{8E39530F-1D2A-466B-A363-221518D588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0300" y="4684713"/>
              <a:ext cx="90488" cy="41275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6" name="Rectangle 144">
              <a:extLst>
                <a:ext uri="{FF2B5EF4-FFF2-40B4-BE49-F238E27FC236}">
                  <a16:creationId xmlns:a16="http://schemas.microsoft.com/office/drawing/2014/main" id="{FFEBF8CB-B0D7-4AFE-AAE6-2BF7E9C116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9063" y="4684713"/>
              <a:ext cx="90488" cy="41275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77" name="Freeform 145">
              <a:extLst>
                <a:ext uri="{FF2B5EF4-FFF2-40B4-BE49-F238E27FC236}">
                  <a16:creationId xmlns:a16="http://schemas.microsoft.com/office/drawing/2014/main" id="{FA1DA180-2D84-46BB-A164-4D0D0E34B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3013" y="4646613"/>
              <a:ext cx="123825" cy="79375"/>
            </a:xfrm>
            <a:custGeom>
              <a:avLst/>
              <a:gdLst>
                <a:gd name="T0" fmla="*/ 54 w 78"/>
                <a:gd name="T1" fmla="*/ 24 h 50"/>
                <a:gd name="T2" fmla="*/ 54 w 78"/>
                <a:gd name="T3" fmla="*/ 0 h 50"/>
                <a:gd name="T4" fmla="*/ 23 w 78"/>
                <a:gd name="T5" fmla="*/ 0 h 50"/>
                <a:gd name="T6" fmla="*/ 23 w 78"/>
                <a:gd name="T7" fmla="*/ 24 h 50"/>
                <a:gd name="T8" fmla="*/ 0 w 78"/>
                <a:gd name="T9" fmla="*/ 24 h 50"/>
                <a:gd name="T10" fmla="*/ 0 w 78"/>
                <a:gd name="T11" fmla="*/ 50 h 50"/>
                <a:gd name="T12" fmla="*/ 78 w 78"/>
                <a:gd name="T13" fmla="*/ 50 h 50"/>
                <a:gd name="T14" fmla="*/ 78 w 78"/>
                <a:gd name="T15" fmla="*/ 24 h 50"/>
                <a:gd name="T16" fmla="*/ 54 w 78"/>
                <a:gd name="T17" fmla="*/ 2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50">
                  <a:moveTo>
                    <a:pt x="54" y="24"/>
                  </a:moveTo>
                  <a:lnTo>
                    <a:pt x="54" y="0"/>
                  </a:lnTo>
                  <a:lnTo>
                    <a:pt x="23" y="0"/>
                  </a:lnTo>
                  <a:lnTo>
                    <a:pt x="23" y="24"/>
                  </a:lnTo>
                  <a:lnTo>
                    <a:pt x="0" y="24"/>
                  </a:lnTo>
                  <a:lnTo>
                    <a:pt x="0" y="50"/>
                  </a:lnTo>
                  <a:lnTo>
                    <a:pt x="78" y="50"/>
                  </a:lnTo>
                  <a:lnTo>
                    <a:pt x="78" y="24"/>
                  </a:lnTo>
                  <a:lnTo>
                    <a:pt x="54" y="24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8" name="Group 12517">
            <a:extLst>
              <a:ext uri="{FF2B5EF4-FFF2-40B4-BE49-F238E27FC236}">
                <a16:creationId xmlns:a16="http://schemas.microsoft.com/office/drawing/2014/main" id="{7D5AD7E9-6F7E-4882-84AA-83F23F06A60A}"/>
              </a:ext>
            </a:extLst>
          </p:cNvPr>
          <p:cNvGrpSpPr/>
          <p:nvPr userDrawn="1"/>
        </p:nvGrpSpPr>
        <p:grpSpPr>
          <a:xfrm>
            <a:off x="728091" y="4470003"/>
            <a:ext cx="320973" cy="348941"/>
            <a:chOff x="42862" y="5408613"/>
            <a:chExt cx="382588" cy="415925"/>
          </a:xfrm>
        </p:grpSpPr>
        <p:sp>
          <p:nvSpPr>
            <p:cNvPr id="179" name="Freeform 146">
              <a:extLst>
                <a:ext uri="{FF2B5EF4-FFF2-40B4-BE49-F238E27FC236}">
                  <a16:creationId xmlns:a16="http://schemas.microsoft.com/office/drawing/2014/main" id="{0C05BDC3-4043-463F-894E-78CD67C905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862" y="5408613"/>
              <a:ext cx="382588" cy="415925"/>
            </a:xfrm>
            <a:custGeom>
              <a:avLst/>
              <a:gdLst>
                <a:gd name="T0" fmla="*/ 97 w 102"/>
                <a:gd name="T1" fmla="*/ 13 h 111"/>
                <a:gd name="T2" fmla="*/ 51 w 102"/>
                <a:gd name="T3" fmla="*/ 0 h 111"/>
                <a:gd name="T4" fmla="*/ 5 w 102"/>
                <a:gd name="T5" fmla="*/ 13 h 111"/>
                <a:gd name="T6" fmla="*/ 2 w 102"/>
                <a:gd name="T7" fmla="*/ 17 h 111"/>
                <a:gd name="T8" fmla="*/ 51 w 102"/>
                <a:gd name="T9" fmla="*/ 111 h 111"/>
                <a:gd name="T10" fmla="*/ 101 w 102"/>
                <a:gd name="T11" fmla="*/ 17 h 111"/>
                <a:gd name="T12" fmla="*/ 97 w 102"/>
                <a:gd name="T13" fmla="*/ 13 h 111"/>
                <a:gd name="T14" fmla="*/ 51 w 102"/>
                <a:gd name="T15" fmla="*/ 105 h 111"/>
                <a:gd name="T16" fmla="*/ 8 w 102"/>
                <a:gd name="T17" fmla="*/ 19 h 111"/>
                <a:gd name="T18" fmla="*/ 51 w 102"/>
                <a:gd name="T19" fmla="*/ 6 h 111"/>
                <a:gd name="T20" fmla="*/ 95 w 102"/>
                <a:gd name="T21" fmla="*/ 19 h 111"/>
                <a:gd name="T22" fmla="*/ 51 w 102"/>
                <a:gd name="T23" fmla="*/ 10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2" h="111">
                  <a:moveTo>
                    <a:pt x="97" y="13"/>
                  </a:moveTo>
                  <a:cubicBezTo>
                    <a:pt x="68" y="15"/>
                    <a:pt x="56" y="0"/>
                    <a:pt x="51" y="0"/>
                  </a:cubicBezTo>
                  <a:cubicBezTo>
                    <a:pt x="47" y="0"/>
                    <a:pt x="37" y="13"/>
                    <a:pt x="5" y="13"/>
                  </a:cubicBezTo>
                  <a:cubicBezTo>
                    <a:pt x="2" y="13"/>
                    <a:pt x="2" y="15"/>
                    <a:pt x="2" y="17"/>
                  </a:cubicBezTo>
                  <a:cubicBezTo>
                    <a:pt x="0" y="95"/>
                    <a:pt x="39" y="103"/>
                    <a:pt x="51" y="111"/>
                  </a:cubicBezTo>
                  <a:cubicBezTo>
                    <a:pt x="73" y="98"/>
                    <a:pt x="101" y="92"/>
                    <a:pt x="101" y="17"/>
                  </a:cubicBezTo>
                  <a:cubicBezTo>
                    <a:pt x="101" y="15"/>
                    <a:pt x="102" y="13"/>
                    <a:pt x="97" y="13"/>
                  </a:cubicBezTo>
                  <a:close/>
                  <a:moveTo>
                    <a:pt x="51" y="105"/>
                  </a:moveTo>
                  <a:cubicBezTo>
                    <a:pt x="43" y="97"/>
                    <a:pt x="5" y="93"/>
                    <a:pt x="8" y="19"/>
                  </a:cubicBezTo>
                  <a:cubicBezTo>
                    <a:pt x="29" y="19"/>
                    <a:pt x="51" y="6"/>
                    <a:pt x="51" y="6"/>
                  </a:cubicBezTo>
                  <a:cubicBezTo>
                    <a:pt x="51" y="6"/>
                    <a:pt x="81" y="22"/>
                    <a:pt x="95" y="19"/>
                  </a:cubicBezTo>
                  <a:cubicBezTo>
                    <a:pt x="97" y="88"/>
                    <a:pt x="66" y="95"/>
                    <a:pt x="51" y="105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0" name="Freeform 147">
              <a:extLst>
                <a:ext uri="{FF2B5EF4-FFF2-40B4-BE49-F238E27FC236}">
                  <a16:creationId xmlns:a16="http://schemas.microsoft.com/office/drawing/2014/main" id="{918BEC11-CB1A-4191-A2EF-A12C213ED45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187" y="5613400"/>
              <a:ext cx="130175" cy="169863"/>
            </a:xfrm>
            <a:custGeom>
              <a:avLst/>
              <a:gdLst>
                <a:gd name="T0" fmla="*/ 0 w 35"/>
                <a:gd name="T1" fmla="*/ 0 h 45"/>
                <a:gd name="T2" fmla="*/ 35 w 35"/>
                <a:gd name="T3" fmla="*/ 0 h 45"/>
                <a:gd name="T4" fmla="*/ 35 w 35"/>
                <a:gd name="T5" fmla="*/ 45 h 45"/>
                <a:gd name="T6" fmla="*/ 0 w 35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" h="45">
                  <a:moveTo>
                    <a:pt x="0" y="0"/>
                  </a:moveTo>
                  <a:cubicBezTo>
                    <a:pt x="4" y="0"/>
                    <a:pt x="35" y="0"/>
                    <a:pt x="35" y="0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7" y="34"/>
                    <a:pt x="0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1" name="Freeform 148">
              <a:extLst>
                <a:ext uri="{FF2B5EF4-FFF2-40B4-BE49-F238E27FC236}">
                  <a16:creationId xmlns:a16="http://schemas.microsoft.com/office/drawing/2014/main" id="{FA10D4F7-F949-45E6-89FD-E942F2DDF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362" y="5453063"/>
              <a:ext cx="150813" cy="160338"/>
            </a:xfrm>
            <a:custGeom>
              <a:avLst/>
              <a:gdLst>
                <a:gd name="T0" fmla="*/ 0 w 40"/>
                <a:gd name="T1" fmla="*/ 0 h 43"/>
                <a:gd name="T2" fmla="*/ 39 w 40"/>
                <a:gd name="T3" fmla="*/ 12 h 43"/>
                <a:gd name="T4" fmla="*/ 36 w 40"/>
                <a:gd name="T5" fmla="*/ 43 h 43"/>
                <a:gd name="T6" fmla="*/ 0 w 40"/>
                <a:gd name="T7" fmla="*/ 43 h 43"/>
                <a:gd name="T8" fmla="*/ 0 w 40"/>
                <a:gd name="T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3">
                  <a:moveTo>
                    <a:pt x="0" y="0"/>
                  </a:moveTo>
                  <a:cubicBezTo>
                    <a:pt x="0" y="0"/>
                    <a:pt x="23" y="12"/>
                    <a:pt x="39" y="12"/>
                  </a:cubicBezTo>
                  <a:cubicBezTo>
                    <a:pt x="40" y="16"/>
                    <a:pt x="36" y="43"/>
                    <a:pt x="36" y="43"/>
                  </a:cubicBezTo>
                  <a:cubicBezTo>
                    <a:pt x="0" y="43"/>
                    <a:pt x="0" y="43"/>
                    <a:pt x="0" y="4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2" name="Group 12518">
            <a:extLst>
              <a:ext uri="{FF2B5EF4-FFF2-40B4-BE49-F238E27FC236}">
                <a16:creationId xmlns:a16="http://schemas.microsoft.com/office/drawing/2014/main" id="{EC98219E-C969-45F6-8C7E-1D9177E8BB99}"/>
              </a:ext>
            </a:extLst>
          </p:cNvPr>
          <p:cNvGrpSpPr/>
          <p:nvPr userDrawn="1"/>
        </p:nvGrpSpPr>
        <p:grpSpPr>
          <a:xfrm>
            <a:off x="1648706" y="4470003"/>
            <a:ext cx="318309" cy="348941"/>
            <a:chOff x="1122362" y="5408613"/>
            <a:chExt cx="379413" cy="415925"/>
          </a:xfrm>
        </p:grpSpPr>
        <p:sp>
          <p:nvSpPr>
            <p:cNvPr id="183" name="Freeform 149">
              <a:extLst>
                <a:ext uri="{FF2B5EF4-FFF2-40B4-BE49-F238E27FC236}">
                  <a16:creationId xmlns:a16="http://schemas.microsoft.com/office/drawing/2014/main" id="{5A946B03-978D-440A-971B-778A072AE2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22362" y="5408613"/>
              <a:ext cx="379413" cy="415925"/>
            </a:xfrm>
            <a:custGeom>
              <a:avLst/>
              <a:gdLst>
                <a:gd name="T0" fmla="*/ 97 w 101"/>
                <a:gd name="T1" fmla="*/ 13 h 111"/>
                <a:gd name="T2" fmla="*/ 51 w 101"/>
                <a:gd name="T3" fmla="*/ 0 h 111"/>
                <a:gd name="T4" fmla="*/ 5 w 101"/>
                <a:gd name="T5" fmla="*/ 13 h 111"/>
                <a:gd name="T6" fmla="*/ 1 w 101"/>
                <a:gd name="T7" fmla="*/ 17 h 111"/>
                <a:gd name="T8" fmla="*/ 51 w 101"/>
                <a:gd name="T9" fmla="*/ 111 h 111"/>
                <a:gd name="T10" fmla="*/ 100 w 101"/>
                <a:gd name="T11" fmla="*/ 17 h 111"/>
                <a:gd name="T12" fmla="*/ 97 w 101"/>
                <a:gd name="T13" fmla="*/ 13 h 111"/>
                <a:gd name="T14" fmla="*/ 51 w 101"/>
                <a:gd name="T15" fmla="*/ 105 h 111"/>
                <a:gd name="T16" fmla="*/ 7 w 101"/>
                <a:gd name="T17" fmla="*/ 19 h 111"/>
                <a:gd name="T18" fmla="*/ 51 w 101"/>
                <a:gd name="T19" fmla="*/ 6 h 111"/>
                <a:gd name="T20" fmla="*/ 95 w 101"/>
                <a:gd name="T21" fmla="*/ 19 h 111"/>
                <a:gd name="T22" fmla="*/ 51 w 101"/>
                <a:gd name="T23" fmla="*/ 10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1" h="111">
                  <a:moveTo>
                    <a:pt x="97" y="13"/>
                  </a:moveTo>
                  <a:cubicBezTo>
                    <a:pt x="68" y="15"/>
                    <a:pt x="55" y="0"/>
                    <a:pt x="51" y="0"/>
                  </a:cubicBezTo>
                  <a:cubicBezTo>
                    <a:pt x="47" y="0"/>
                    <a:pt x="37" y="13"/>
                    <a:pt x="5" y="13"/>
                  </a:cubicBezTo>
                  <a:cubicBezTo>
                    <a:pt x="2" y="13"/>
                    <a:pt x="1" y="15"/>
                    <a:pt x="1" y="17"/>
                  </a:cubicBezTo>
                  <a:cubicBezTo>
                    <a:pt x="0" y="95"/>
                    <a:pt x="39" y="103"/>
                    <a:pt x="51" y="111"/>
                  </a:cubicBezTo>
                  <a:cubicBezTo>
                    <a:pt x="73" y="98"/>
                    <a:pt x="101" y="92"/>
                    <a:pt x="100" y="17"/>
                  </a:cubicBezTo>
                  <a:cubicBezTo>
                    <a:pt x="100" y="15"/>
                    <a:pt x="101" y="13"/>
                    <a:pt x="97" y="13"/>
                  </a:cubicBezTo>
                  <a:close/>
                  <a:moveTo>
                    <a:pt x="51" y="105"/>
                  </a:moveTo>
                  <a:cubicBezTo>
                    <a:pt x="43" y="97"/>
                    <a:pt x="4" y="93"/>
                    <a:pt x="7" y="19"/>
                  </a:cubicBezTo>
                  <a:cubicBezTo>
                    <a:pt x="29" y="19"/>
                    <a:pt x="51" y="6"/>
                    <a:pt x="51" y="6"/>
                  </a:cubicBezTo>
                  <a:cubicBezTo>
                    <a:pt x="51" y="6"/>
                    <a:pt x="81" y="22"/>
                    <a:pt x="95" y="19"/>
                  </a:cubicBezTo>
                  <a:cubicBezTo>
                    <a:pt x="97" y="88"/>
                    <a:pt x="65" y="95"/>
                    <a:pt x="51" y="105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4" name="Freeform 150">
              <a:extLst>
                <a:ext uri="{FF2B5EF4-FFF2-40B4-BE49-F238E27FC236}">
                  <a16:creationId xmlns:a16="http://schemas.microsoft.com/office/drawing/2014/main" id="{7AA38493-7C1D-46E3-923D-3170925F5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3637" y="5453063"/>
              <a:ext cx="292100" cy="330200"/>
            </a:xfrm>
            <a:custGeom>
              <a:avLst/>
              <a:gdLst>
                <a:gd name="T0" fmla="*/ 0 w 78"/>
                <a:gd name="T1" fmla="*/ 12 h 88"/>
                <a:gd name="T2" fmla="*/ 39 w 78"/>
                <a:gd name="T3" fmla="*/ 0 h 88"/>
                <a:gd name="T4" fmla="*/ 78 w 78"/>
                <a:gd name="T5" fmla="*/ 12 h 88"/>
                <a:gd name="T6" fmla="*/ 39 w 78"/>
                <a:gd name="T7" fmla="*/ 88 h 88"/>
                <a:gd name="T8" fmla="*/ 0 w 78"/>
                <a:gd name="T9" fmla="*/ 1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88">
                  <a:moveTo>
                    <a:pt x="0" y="12"/>
                  </a:moveTo>
                  <a:cubicBezTo>
                    <a:pt x="2" y="12"/>
                    <a:pt x="25" y="9"/>
                    <a:pt x="39" y="0"/>
                  </a:cubicBezTo>
                  <a:cubicBezTo>
                    <a:pt x="57" y="10"/>
                    <a:pt x="77" y="12"/>
                    <a:pt x="78" y="12"/>
                  </a:cubicBezTo>
                  <a:cubicBezTo>
                    <a:pt x="77" y="75"/>
                    <a:pt x="46" y="82"/>
                    <a:pt x="39" y="88"/>
                  </a:cubicBezTo>
                  <a:cubicBezTo>
                    <a:pt x="35" y="83"/>
                    <a:pt x="0" y="77"/>
                    <a:pt x="0" y="1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85" name="Group 12519">
            <a:extLst>
              <a:ext uri="{FF2B5EF4-FFF2-40B4-BE49-F238E27FC236}">
                <a16:creationId xmlns:a16="http://schemas.microsoft.com/office/drawing/2014/main" id="{2C602B9F-BB58-4D6A-8FAA-9DBE8403205B}"/>
              </a:ext>
            </a:extLst>
          </p:cNvPr>
          <p:cNvGrpSpPr/>
          <p:nvPr userDrawn="1"/>
        </p:nvGrpSpPr>
        <p:grpSpPr>
          <a:xfrm>
            <a:off x="2538110" y="4452246"/>
            <a:ext cx="392892" cy="392892"/>
            <a:chOff x="2173287" y="5367338"/>
            <a:chExt cx="468313" cy="468313"/>
          </a:xfrm>
        </p:grpSpPr>
        <p:sp>
          <p:nvSpPr>
            <p:cNvPr id="186" name="Oval 151">
              <a:extLst>
                <a:ext uri="{FF2B5EF4-FFF2-40B4-BE49-F238E27FC236}">
                  <a16:creationId xmlns:a16="http://schemas.microsoft.com/office/drawing/2014/main" id="{E1EA62CB-EF0E-4E43-923D-C1AE072ADF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33625" y="5527675"/>
              <a:ext cx="146050" cy="146050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7" name="Freeform 152">
              <a:extLst>
                <a:ext uri="{FF2B5EF4-FFF2-40B4-BE49-F238E27FC236}">
                  <a16:creationId xmlns:a16="http://schemas.microsoft.com/office/drawing/2014/main" id="{4BB4DF7A-4BAC-4C8E-A0AF-D700988841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3287" y="5367338"/>
              <a:ext cx="468313" cy="468313"/>
            </a:xfrm>
            <a:custGeom>
              <a:avLst/>
              <a:gdLst>
                <a:gd name="T0" fmla="*/ 62 w 125"/>
                <a:gd name="T1" fmla="*/ 0 h 125"/>
                <a:gd name="T2" fmla="*/ 0 w 125"/>
                <a:gd name="T3" fmla="*/ 62 h 125"/>
                <a:gd name="T4" fmla="*/ 62 w 125"/>
                <a:gd name="T5" fmla="*/ 125 h 125"/>
                <a:gd name="T6" fmla="*/ 125 w 125"/>
                <a:gd name="T7" fmla="*/ 62 h 125"/>
                <a:gd name="T8" fmla="*/ 62 w 125"/>
                <a:gd name="T9" fmla="*/ 0 h 125"/>
                <a:gd name="T10" fmla="*/ 40 w 125"/>
                <a:gd name="T11" fmla="*/ 91 h 125"/>
                <a:gd name="T12" fmla="*/ 28 w 125"/>
                <a:gd name="T13" fmla="*/ 102 h 125"/>
                <a:gd name="T14" fmla="*/ 21 w 125"/>
                <a:gd name="T15" fmla="*/ 102 h 125"/>
                <a:gd name="T16" fmla="*/ 22 w 125"/>
                <a:gd name="T17" fmla="*/ 96 h 125"/>
                <a:gd name="T18" fmla="*/ 34 w 125"/>
                <a:gd name="T19" fmla="*/ 84 h 125"/>
                <a:gd name="T20" fmla="*/ 41 w 125"/>
                <a:gd name="T21" fmla="*/ 84 h 125"/>
                <a:gd name="T22" fmla="*/ 40 w 125"/>
                <a:gd name="T23" fmla="*/ 91 h 125"/>
                <a:gd name="T24" fmla="*/ 62 w 125"/>
                <a:gd name="T25" fmla="*/ 89 h 125"/>
                <a:gd name="T26" fmla="*/ 36 w 125"/>
                <a:gd name="T27" fmla="*/ 62 h 125"/>
                <a:gd name="T28" fmla="*/ 62 w 125"/>
                <a:gd name="T29" fmla="*/ 36 h 125"/>
                <a:gd name="T30" fmla="*/ 89 w 125"/>
                <a:gd name="T31" fmla="*/ 62 h 125"/>
                <a:gd name="T32" fmla="*/ 62 w 125"/>
                <a:gd name="T33" fmla="*/ 89 h 125"/>
                <a:gd name="T34" fmla="*/ 102 w 125"/>
                <a:gd name="T35" fmla="*/ 29 h 125"/>
                <a:gd name="T36" fmla="*/ 90 w 125"/>
                <a:gd name="T37" fmla="*/ 40 h 125"/>
                <a:gd name="T38" fmla="*/ 83 w 125"/>
                <a:gd name="T39" fmla="*/ 40 h 125"/>
                <a:gd name="T40" fmla="*/ 84 w 125"/>
                <a:gd name="T41" fmla="*/ 33 h 125"/>
                <a:gd name="T42" fmla="*/ 96 w 125"/>
                <a:gd name="T43" fmla="*/ 22 h 125"/>
                <a:gd name="T44" fmla="*/ 103 w 125"/>
                <a:gd name="T45" fmla="*/ 22 h 125"/>
                <a:gd name="T46" fmla="*/ 102 w 125"/>
                <a:gd name="T47" fmla="*/ 29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5" h="125">
                  <a:moveTo>
                    <a:pt x="62" y="0"/>
                  </a:moveTo>
                  <a:cubicBezTo>
                    <a:pt x="28" y="0"/>
                    <a:pt x="0" y="28"/>
                    <a:pt x="0" y="62"/>
                  </a:cubicBezTo>
                  <a:cubicBezTo>
                    <a:pt x="0" y="97"/>
                    <a:pt x="28" y="125"/>
                    <a:pt x="62" y="125"/>
                  </a:cubicBezTo>
                  <a:cubicBezTo>
                    <a:pt x="97" y="125"/>
                    <a:pt x="125" y="97"/>
                    <a:pt x="125" y="62"/>
                  </a:cubicBezTo>
                  <a:cubicBezTo>
                    <a:pt x="125" y="28"/>
                    <a:pt x="97" y="0"/>
                    <a:pt x="62" y="0"/>
                  </a:cubicBezTo>
                  <a:close/>
                  <a:moveTo>
                    <a:pt x="40" y="91"/>
                  </a:moveTo>
                  <a:cubicBezTo>
                    <a:pt x="28" y="102"/>
                    <a:pt x="28" y="102"/>
                    <a:pt x="28" y="102"/>
                  </a:cubicBezTo>
                  <a:cubicBezTo>
                    <a:pt x="26" y="104"/>
                    <a:pt x="23" y="104"/>
                    <a:pt x="21" y="102"/>
                  </a:cubicBezTo>
                  <a:cubicBezTo>
                    <a:pt x="20" y="100"/>
                    <a:pt x="20" y="97"/>
                    <a:pt x="22" y="96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6" y="82"/>
                    <a:pt x="39" y="82"/>
                    <a:pt x="41" y="84"/>
                  </a:cubicBezTo>
                  <a:cubicBezTo>
                    <a:pt x="42" y="86"/>
                    <a:pt x="42" y="89"/>
                    <a:pt x="40" y="91"/>
                  </a:cubicBezTo>
                  <a:close/>
                  <a:moveTo>
                    <a:pt x="62" y="89"/>
                  </a:moveTo>
                  <a:cubicBezTo>
                    <a:pt x="48" y="89"/>
                    <a:pt x="36" y="77"/>
                    <a:pt x="36" y="62"/>
                  </a:cubicBezTo>
                  <a:cubicBezTo>
                    <a:pt x="36" y="48"/>
                    <a:pt x="48" y="36"/>
                    <a:pt x="62" y="36"/>
                  </a:cubicBezTo>
                  <a:cubicBezTo>
                    <a:pt x="77" y="36"/>
                    <a:pt x="89" y="48"/>
                    <a:pt x="89" y="62"/>
                  </a:cubicBezTo>
                  <a:cubicBezTo>
                    <a:pt x="89" y="77"/>
                    <a:pt x="77" y="89"/>
                    <a:pt x="62" y="89"/>
                  </a:cubicBezTo>
                  <a:close/>
                  <a:moveTo>
                    <a:pt x="102" y="29"/>
                  </a:moveTo>
                  <a:cubicBezTo>
                    <a:pt x="90" y="40"/>
                    <a:pt x="90" y="40"/>
                    <a:pt x="90" y="40"/>
                  </a:cubicBezTo>
                  <a:cubicBezTo>
                    <a:pt x="88" y="42"/>
                    <a:pt x="85" y="42"/>
                    <a:pt x="83" y="40"/>
                  </a:cubicBezTo>
                  <a:cubicBezTo>
                    <a:pt x="82" y="38"/>
                    <a:pt x="82" y="35"/>
                    <a:pt x="84" y="33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98" y="20"/>
                    <a:pt x="101" y="20"/>
                    <a:pt x="103" y="22"/>
                  </a:cubicBezTo>
                  <a:cubicBezTo>
                    <a:pt x="105" y="24"/>
                    <a:pt x="104" y="27"/>
                    <a:pt x="102" y="2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88" name="Oval 153">
              <a:extLst>
                <a:ext uri="{FF2B5EF4-FFF2-40B4-BE49-F238E27FC236}">
                  <a16:creationId xmlns:a16="http://schemas.microsoft.com/office/drawing/2014/main" id="{0F942CFE-4D70-4CE9-96A5-2EE28A47E3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3787" y="5557838"/>
              <a:ext cx="85725" cy="8572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89" name="Freeform 154">
            <a:extLst>
              <a:ext uri="{FF2B5EF4-FFF2-40B4-BE49-F238E27FC236}">
                <a16:creationId xmlns:a16="http://schemas.microsoft.com/office/drawing/2014/main" id="{1DCD9826-081B-4120-A5A4-4BECD014E41F}"/>
              </a:ext>
            </a:extLst>
          </p:cNvPr>
          <p:cNvSpPr>
            <a:spLocks/>
          </p:cNvSpPr>
          <p:nvPr userDrawn="1"/>
        </p:nvSpPr>
        <p:spPr bwMode="auto">
          <a:xfrm>
            <a:off x="3457647" y="4436640"/>
            <a:ext cx="392892" cy="431515"/>
          </a:xfrm>
          <a:custGeom>
            <a:avLst/>
            <a:gdLst>
              <a:gd name="T0" fmla="*/ 96 w 125"/>
              <a:gd name="T1" fmla="*/ 39 h 137"/>
              <a:gd name="T2" fmla="*/ 76 w 125"/>
              <a:gd name="T3" fmla="*/ 46 h 137"/>
              <a:gd name="T4" fmla="*/ 39 w 125"/>
              <a:gd name="T5" fmla="*/ 21 h 137"/>
              <a:gd name="T6" fmla="*/ 40 w 125"/>
              <a:gd name="T7" fmla="*/ 19 h 137"/>
              <a:gd name="T8" fmla="*/ 20 w 125"/>
              <a:gd name="T9" fmla="*/ 0 h 137"/>
              <a:gd name="T10" fmla="*/ 0 w 125"/>
              <a:gd name="T11" fmla="*/ 19 h 137"/>
              <a:gd name="T12" fmla="*/ 20 w 125"/>
              <a:gd name="T13" fmla="*/ 39 h 137"/>
              <a:gd name="T14" fmla="*/ 31 w 125"/>
              <a:gd name="T15" fmla="*/ 35 h 137"/>
              <a:gd name="T16" fmla="*/ 67 w 125"/>
              <a:gd name="T17" fmla="*/ 60 h 137"/>
              <a:gd name="T18" fmla="*/ 67 w 125"/>
              <a:gd name="T19" fmla="*/ 68 h 137"/>
              <a:gd name="T20" fmla="*/ 69 w 125"/>
              <a:gd name="T21" fmla="*/ 78 h 137"/>
              <a:gd name="T22" fmla="*/ 31 w 125"/>
              <a:gd name="T23" fmla="*/ 102 h 137"/>
              <a:gd name="T24" fmla="*/ 20 w 125"/>
              <a:gd name="T25" fmla="*/ 98 h 137"/>
              <a:gd name="T26" fmla="*/ 0 w 125"/>
              <a:gd name="T27" fmla="*/ 118 h 137"/>
              <a:gd name="T28" fmla="*/ 20 w 125"/>
              <a:gd name="T29" fmla="*/ 137 h 137"/>
              <a:gd name="T30" fmla="*/ 39 w 125"/>
              <a:gd name="T31" fmla="*/ 118 h 137"/>
              <a:gd name="T32" fmla="*/ 39 w 125"/>
              <a:gd name="T33" fmla="*/ 116 h 137"/>
              <a:gd name="T34" fmla="*/ 79 w 125"/>
              <a:gd name="T35" fmla="*/ 91 h 137"/>
              <a:gd name="T36" fmla="*/ 96 w 125"/>
              <a:gd name="T37" fmla="*/ 97 h 137"/>
              <a:gd name="T38" fmla="*/ 125 w 125"/>
              <a:gd name="T39" fmla="*/ 68 h 137"/>
              <a:gd name="T40" fmla="*/ 96 w 125"/>
              <a:gd name="T41" fmla="*/ 39 h 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5" h="137">
                <a:moveTo>
                  <a:pt x="96" y="39"/>
                </a:moveTo>
                <a:cubicBezTo>
                  <a:pt x="88" y="39"/>
                  <a:pt x="81" y="41"/>
                  <a:pt x="76" y="46"/>
                </a:cubicBezTo>
                <a:cubicBezTo>
                  <a:pt x="39" y="21"/>
                  <a:pt x="39" y="21"/>
                  <a:pt x="39" y="21"/>
                </a:cubicBezTo>
                <a:cubicBezTo>
                  <a:pt x="39" y="20"/>
                  <a:pt x="40" y="20"/>
                  <a:pt x="40" y="19"/>
                </a:cubicBezTo>
                <a:cubicBezTo>
                  <a:pt x="40" y="8"/>
                  <a:pt x="31" y="0"/>
                  <a:pt x="20" y="0"/>
                </a:cubicBezTo>
                <a:cubicBezTo>
                  <a:pt x="9" y="0"/>
                  <a:pt x="0" y="8"/>
                  <a:pt x="0" y="19"/>
                </a:cubicBezTo>
                <a:cubicBezTo>
                  <a:pt x="0" y="30"/>
                  <a:pt x="9" y="39"/>
                  <a:pt x="20" y="39"/>
                </a:cubicBezTo>
                <a:cubicBezTo>
                  <a:pt x="24" y="39"/>
                  <a:pt x="28" y="38"/>
                  <a:pt x="31" y="35"/>
                </a:cubicBezTo>
                <a:cubicBezTo>
                  <a:pt x="67" y="60"/>
                  <a:pt x="67" y="60"/>
                  <a:pt x="67" y="60"/>
                </a:cubicBezTo>
                <a:cubicBezTo>
                  <a:pt x="67" y="62"/>
                  <a:pt x="67" y="65"/>
                  <a:pt x="67" y="68"/>
                </a:cubicBezTo>
                <a:cubicBezTo>
                  <a:pt x="67" y="71"/>
                  <a:pt x="67" y="75"/>
                  <a:pt x="69" y="78"/>
                </a:cubicBezTo>
                <a:cubicBezTo>
                  <a:pt x="31" y="102"/>
                  <a:pt x="31" y="102"/>
                  <a:pt x="31" y="102"/>
                </a:cubicBezTo>
                <a:cubicBezTo>
                  <a:pt x="27" y="99"/>
                  <a:pt x="24" y="98"/>
                  <a:pt x="20" y="98"/>
                </a:cubicBezTo>
                <a:cubicBezTo>
                  <a:pt x="9" y="98"/>
                  <a:pt x="0" y="107"/>
                  <a:pt x="0" y="118"/>
                </a:cubicBezTo>
                <a:cubicBezTo>
                  <a:pt x="0" y="128"/>
                  <a:pt x="9" y="137"/>
                  <a:pt x="20" y="137"/>
                </a:cubicBezTo>
                <a:cubicBezTo>
                  <a:pt x="30" y="137"/>
                  <a:pt x="39" y="128"/>
                  <a:pt x="39" y="118"/>
                </a:cubicBezTo>
                <a:cubicBezTo>
                  <a:pt x="39" y="117"/>
                  <a:pt x="39" y="116"/>
                  <a:pt x="39" y="116"/>
                </a:cubicBezTo>
                <a:cubicBezTo>
                  <a:pt x="79" y="91"/>
                  <a:pt x="79" y="91"/>
                  <a:pt x="79" y="91"/>
                </a:cubicBezTo>
                <a:cubicBezTo>
                  <a:pt x="83" y="94"/>
                  <a:pt x="89" y="97"/>
                  <a:pt x="96" y="97"/>
                </a:cubicBezTo>
                <a:cubicBezTo>
                  <a:pt x="112" y="97"/>
                  <a:pt x="125" y="84"/>
                  <a:pt x="125" y="68"/>
                </a:cubicBezTo>
                <a:cubicBezTo>
                  <a:pt x="125" y="51"/>
                  <a:pt x="112" y="39"/>
                  <a:pt x="96" y="39"/>
                </a:cubicBezTo>
                <a:close/>
              </a:path>
            </a:pathLst>
          </a:custGeom>
          <a:solidFill>
            <a:srgbClr val="D3072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190" name="Group 12520">
            <a:extLst>
              <a:ext uri="{FF2B5EF4-FFF2-40B4-BE49-F238E27FC236}">
                <a16:creationId xmlns:a16="http://schemas.microsoft.com/office/drawing/2014/main" id="{C28B0D3D-F62D-45D7-BF53-51407F77D54E}"/>
              </a:ext>
            </a:extLst>
          </p:cNvPr>
          <p:cNvGrpSpPr/>
          <p:nvPr userDrawn="1"/>
        </p:nvGrpSpPr>
        <p:grpSpPr>
          <a:xfrm>
            <a:off x="4397631" y="4425341"/>
            <a:ext cx="342282" cy="459484"/>
            <a:chOff x="4367212" y="5313363"/>
            <a:chExt cx="407988" cy="547688"/>
          </a:xfrm>
        </p:grpSpPr>
        <p:sp>
          <p:nvSpPr>
            <p:cNvPr id="191" name="Freeform 155">
              <a:extLst>
                <a:ext uri="{FF2B5EF4-FFF2-40B4-BE49-F238E27FC236}">
                  <a16:creationId xmlns:a16="http://schemas.microsoft.com/office/drawing/2014/main" id="{1C36E231-52BC-4BDA-9B76-311B0A2C2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7212" y="5313363"/>
              <a:ext cx="407988" cy="547688"/>
            </a:xfrm>
            <a:custGeom>
              <a:avLst/>
              <a:gdLst>
                <a:gd name="T0" fmla="*/ 98 w 109"/>
                <a:gd name="T1" fmla="*/ 0 h 146"/>
                <a:gd name="T2" fmla="*/ 11 w 109"/>
                <a:gd name="T3" fmla="*/ 0 h 146"/>
                <a:gd name="T4" fmla="*/ 0 w 109"/>
                <a:gd name="T5" fmla="*/ 11 h 146"/>
                <a:gd name="T6" fmla="*/ 0 w 109"/>
                <a:gd name="T7" fmla="*/ 135 h 146"/>
                <a:gd name="T8" fmla="*/ 11 w 109"/>
                <a:gd name="T9" fmla="*/ 146 h 146"/>
                <a:gd name="T10" fmla="*/ 98 w 109"/>
                <a:gd name="T11" fmla="*/ 146 h 146"/>
                <a:gd name="T12" fmla="*/ 109 w 109"/>
                <a:gd name="T13" fmla="*/ 135 h 146"/>
                <a:gd name="T14" fmla="*/ 109 w 109"/>
                <a:gd name="T15" fmla="*/ 11 h 146"/>
                <a:gd name="T16" fmla="*/ 98 w 109"/>
                <a:gd name="T17" fmla="*/ 0 h 146"/>
                <a:gd name="T18" fmla="*/ 12 w 109"/>
                <a:gd name="T19" fmla="*/ 6 h 146"/>
                <a:gd name="T20" fmla="*/ 18 w 109"/>
                <a:gd name="T21" fmla="*/ 11 h 146"/>
                <a:gd name="T22" fmla="*/ 12 w 109"/>
                <a:gd name="T23" fmla="*/ 17 h 146"/>
                <a:gd name="T24" fmla="*/ 6 w 109"/>
                <a:gd name="T25" fmla="*/ 11 h 146"/>
                <a:gd name="T26" fmla="*/ 12 w 109"/>
                <a:gd name="T27" fmla="*/ 6 h 146"/>
                <a:gd name="T28" fmla="*/ 12 w 109"/>
                <a:gd name="T29" fmla="*/ 142 h 146"/>
                <a:gd name="T30" fmla="*/ 6 w 109"/>
                <a:gd name="T31" fmla="*/ 136 h 146"/>
                <a:gd name="T32" fmla="*/ 12 w 109"/>
                <a:gd name="T33" fmla="*/ 130 h 146"/>
                <a:gd name="T34" fmla="*/ 18 w 109"/>
                <a:gd name="T35" fmla="*/ 136 h 146"/>
                <a:gd name="T36" fmla="*/ 12 w 109"/>
                <a:gd name="T37" fmla="*/ 142 h 146"/>
                <a:gd name="T38" fmla="*/ 59 w 109"/>
                <a:gd name="T39" fmla="*/ 104 h 146"/>
                <a:gd name="T40" fmla="*/ 55 w 109"/>
                <a:gd name="T41" fmla="*/ 114 h 146"/>
                <a:gd name="T42" fmla="*/ 31 w 109"/>
                <a:gd name="T43" fmla="*/ 128 h 146"/>
                <a:gd name="T44" fmla="*/ 29 w 109"/>
                <a:gd name="T45" fmla="*/ 104 h 146"/>
                <a:gd name="T46" fmla="*/ 34 w 109"/>
                <a:gd name="T47" fmla="*/ 99 h 146"/>
                <a:gd name="T48" fmla="*/ 9 w 109"/>
                <a:gd name="T49" fmla="*/ 59 h 146"/>
                <a:gd name="T50" fmla="*/ 54 w 109"/>
                <a:gd name="T51" fmla="*/ 15 h 146"/>
                <a:gd name="T52" fmla="*/ 98 w 109"/>
                <a:gd name="T53" fmla="*/ 59 h 146"/>
                <a:gd name="T54" fmla="*/ 59 w 109"/>
                <a:gd name="T55" fmla="*/ 104 h 146"/>
                <a:gd name="T56" fmla="*/ 98 w 109"/>
                <a:gd name="T57" fmla="*/ 142 h 146"/>
                <a:gd name="T58" fmla="*/ 92 w 109"/>
                <a:gd name="T59" fmla="*/ 136 h 146"/>
                <a:gd name="T60" fmla="*/ 98 w 109"/>
                <a:gd name="T61" fmla="*/ 130 h 146"/>
                <a:gd name="T62" fmla="*/ 103 w 109"/>
                <a:gd name="T63" fmla="*/ 136 h 146"/>
                <a:gd name="T64" fmla="*/ 98 w 109"/>
                <a:gd name="T65" fmla="*/ 142 h 146"/>
                <a:gd name="T66" fmla="*/ 98 w 109"/>
                <a:gd name="T67" fmla="*/ 17 h 146"/>
                <a:gd name="T68" fmla="*/ 92 w 109"/>
                <a:gd name="T69" fmla="*/ 11 h 146"/>
                <a:gd name="T70" fmla="*/ 98 w 109"/>
                <a:gd name="T71" fmla="*/ 6 h 146"/>
                <a:gd name="T72" fmla="*/ 103 w 109"/>
                <a:gd name="T73" fmla="*/ 11 h 146"/>
                <a:gd name="T74" fmla="*/ 98 w 109"/>
                <a:gd name="T75" fmla="*/ 1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9" h="146">
                  <a:moveTo>
                    <a:pt x="98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1"/>
                    <a:pt x="5" y="146"/>
                    <a:pt x="11" y="146"/>
                  </a:cubicBezTo>
                  <a:cubicBezTo>
                    <a:pt x="98" y="146"/>
                    <a:pt x="98" y="146"/>
                    <a:pt x="98" y="146"/>
                  </a:cubicBezTo>
                  <a:cubicBezTo>
                    <a:pt x="104" y="146"/>
                    <a:pt x="109" y="141"/>
                    <a:pt x="109" y="135"/>
                  </a:cubicBezTo>
                  <a:cubicBezTo>
                    <a:pt x="109" y="11"/>
                    <a:pt x="109" y="11"/>
                    <a:pt x="109" y="11"/>
                  </a:cubicBezTo>
                  <a:cubicBezTo>
                    <a:pt x="109" y="5"/>
                    <a:pt x="104" y="0"/>
                    <a:pt x="98" y="0"/>
                  </a:cubicBezTo>
                  <a:close/>
                  <a:moveTo>
                    <a:pt x="12" y="6"/>
                  </a:moveTo>
                  <a:cubicBezTo>
                    <a:pt x="15" y="6"/>
                    <a:pt x="18" y="8"/>
                    <a:pt x="18" y="11"/>
                  </a:cubicBezTo>
                  <a:cubicBezTo>
                    <a:pt x="18" y="14"/>
                    <a:pt x="15" y="17"/>
                    <a:pt x="12" y="17"/>
                  </a:cubicBezTo>
                  <a:cubicBezTo>
                    <a:pt x="9" y="17"/>
                    <a:pt x="6" y="14"/>
                    <a:pt x="6" y="11"/>
                  </a:cubicBezTo>
                  <a:cubicBezTo>
                    <a:pt x="6" y="8"/>
                    <a:pt x="9" y="6"/>
                    <a:pt x="12" y="6"/>
                  </a:cubicBezTo>
                  <a:close/>
                  <a:moveTo>
                    <a:pt x="12" y="142"/>
                  </a:moveTo>
                  <a:cubicBezTo>
                    <a:pt x="9" y="142"/>
                    <a:pt x="6" y="139"/>
                    <a:pt x="6" y="136"/>
                  </a:cubicBezTo>
                  <a:cubicBezTo>
                    <a:pt x="6" y="133"/>
                    <a:pt x="9" y="130"/>
                    <a:pt x="12" y="130"/>
                  </a:cubicBezTo>
                  <a:cubicBezTo>
                    <a:pt x="15" y="130"/>
                    <a:pt x="18" y="133"/>
                    <a:pt x="18" y="136"/>
                  </a:cubicBezTo>
                  <a:cubicBezTo>
                    <a:pt x="18" y="139"/>
                    <a:pt x="15" y="142"/>
                    <a:pt x="12" y="142"/>
                  </a:cubicBezTo>
                  <a:close/>
                  <a:moveTo>
                    <a:pt x="59" y="104"/>
                  </a:moveTo>
                  <a:cubicBezTo>
                    <a:pt x="55" y="114"/>
                    <a:pt x="55" y="114"/>
                    <a:pt x="55" y="114"/>
                  </a:cubicBezTo>
                  <a:cubicBezTo>
                    <a:pt x="55" y="114"/>
                    <a:pt x="47" y="137"/>
                    <a:pt x="31" y="128"/>
                  </a:cubicBezTo>
                  <a:cubicBezTo>
                    <a:pt x="14" y="119"/>
                    <a:pt x="29" y="104"/>
                    <a:pt x="29" y="104"/>
                  </a:cubicBezTo>
                  <a:cubicBezTo>
                    <a:pt x="34" y="99"/>
                    <a:pt x="34" y="99"/>
                    <a:pt x="34" y="99"/>
                  </a:cubicBezTo>
                  <a:cubicBezTo>
                    <a:pt x="19" y="92"/>
                    <a:pt x="9" y="77"/>
                    <a:pt x="9" y="59"/>
                  </a:cubicBezTo>
                  <a:cubicBezTo>
                    <a:pt x="9" y="35"/>
                    <a:pt x="29" y="15"/>
                    <a:pt x="54" y="15"/>
                  </a:cubicBezTo>
                  <a:cubicBezTo>
                    <a:pt x="78" y="15"/>
                    <a:pt x="98" y="35"/>
                    <a:pt x="98" y="59"/>
                  </a:cubicBezTo>
                  <a:cubicBezTo>
                    <a:pt x="98" y="82"/>
                    <a:pt x="81" y="101"/>
                    <a:pt x="59" y="104"/>
                  </a:cubicBezTo>
                  <a:close/>
                  <a:moveTo>
                    <a:pt x="98" y="142"/>
                  </a:moveTo>
                  <a:cubicBezTo>
                    <a:pt x="95" y="142"/>
                    <a:pt x="92" y="139"/>
                    <a:pt x="92" y="136"/>
                  </a:cubicBezTo>
                  <a:cubicBezTo>
                    <a:pt x="92" y="133"/>
                    <a:pt x="95" y="130"/>
                    <a:pt x="98" y="130"/>
                  </a:cubicBezTo>
                  <a:cubicBezTo>
                    <a:pt x="101" y="130"/>
                    <a:pt x="103" y="133"/>
                    <a:pt x="103" y="136"/>
                  </a:cubicBezTo>
                  <a:cubicBezTo>
                    <a:pt x="103" y="139"/>
                    <a:pt x="101" y="142"/>
                    <a:pt x="98" y="142"/>
                  </a:cubicBezTo>
                  <a:close/>
                  <a:moveTo>
                    <a:pt x="98" y="17"/>
                  </a:moveTo>
                  <a:cubicBezTo>
                    <a:pt x="95" y="17"/>
                    <a:pt x="92" y="14"/>
                    <a:pt x="92" y="11"/>
                  </a:cubicBezTo>
                  <a:cubicBezTo>
                    <a:pt x="92" y="8"/>
                    <a:pt x="95" y="6"/>
                    <a:pt x="98" y="6"/>
                  </a:cubicBezTo>
                  <a:cubicBezTo>
                    <a:pt x="101" y="6"/>
                    <a:pt x="103" y="8"/>
                    <a:pt x="103" y="11"/>
                  </a:cubicBezTo>
                  <a:cubicBezTo>
                    <a:pt x="103" y="14"/>
                    <a:pt x="101" y="17"/>
                    <a:pt x="98" y="17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2" name="Oval 156">
              <a:extLst>
                <a:ext uri="{FF2B5EF4-FFF2-40B4-BE49-F238E27FC236}">
                  <a16:creationId xmlns:a16="http://schemas.microsoft.com/office/drawing/2014/main" id="{A5B0CEE9-F45D-49ED-AD6B-8E8894CCAB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8500" y="5478463"/>
              <a:ext cx="120650" cy="117475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3" name="Freeform 157">
              <a:extLst>
                <a:ext uri="{FF2B5EF4-FFF2-40B4-BE49-F238E27FC236}">
                  <a16:creationId xmlns:a16="http://schemas.microsoft.com/office/drawing/2014/main" id="{266CD99A-E969-465D-884B-5897AF4832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112" y="5618163"/>
              <a:ext cx="142875" cy="184150"/>
            </a:xfrm>
            <a:custGeom>
              <a:avLst/>
              <a:gdLst>
                <a:gd name="T0" fmla="*/ 38 w 38"/>
                <a:gd name="T1" fmla="*/ 0 h 49"/>
                <a:gd name="T2" fmla="*/ 23 w 38"/>
                <a:gd name="T3" fmla="*/ 37 h 49"/>
                <a:gd name="T4" fmla="*/ 9 w 38"/>
                <a:gd name="T5" fmla="*/ 42 h 49"/>
                <a:gd name="T6" fmla="*/ 11 w 38"/>
                <a:gd name="T7" fmla="*/ 24 h 49"/>
                <a:gd name="T8" fmla="*/ 38 w 38"/>
                <a:gd name="T9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49">
                  <a:moveTo>
                    <a:pt x="38" y="0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18" y="49"/>
                    <a:pt x="9" y="42"/>
                  </a:cubicBezTo>
                  <a:cubicBezTo>
                    <a:pt x="0" y="34"/>
                    <a:pt x="11" y="24"/>
                    <a:pt x="11" y="24"/>
                  </a:cubicBezTo>
                  <a:lnTo>
                    <a:pt x="38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94" name="Group 12521">
            <a:extLst>
              <a:ext uri="{FF2B5EF4-FFF2-40B4-BE49-F238E27FC236}">
                <a16:creationId xmlns:a16="http://schemas.microsoft.com/office/drawing/2014/main" id="{C0D2886C-3ADB-4FB1-9A50-6A8317C1610E}"/>
              </a:ext>
            </a:extLst>
          </p:cNvPr>
          <p:cNvGrpSpPr/>
          <p:nvPr userDrawn="1"/>
        </p:nvGrpSpPr>
        <p:grpSpPr>
          <a:xfrm>
            <a:off x="5278424" y="4433951"/>
            <a:ext cx="438175" cy="438174"/>
            <a:chOff x="5397500" y="5332413"/>
            <a:chExt cx="522288" cy="522287"/>
          </a:xfrm>
        </p:grpSpPr>
        <p:sp>
          <p:nvSpPr>
            <p:cNvPr id="195" name="Freeform 158">
              <a:extLst>
                <a:ext uri="{FF2B5EF4-FFF2-40B4-BE49-F238E27FC236}">
                  <a16:creationId xmlns:a16="http://schemas.microsoft.com/office/drawing/2014/main" id="{98D051F7-9290-4F40-AA0D-5B770FA87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1163" y="5422900"/>
              <a:ext cx="330200" cy="333375"/>
            </a:xfrm>
            <a:custGeom>
              <a:avLst/>
              <a:gdLst>
                <a:gd name="T0" fmla="*/ 77 w 88"/>
                <a:gd name="T1" fmla="*/ 89 h 89"/>
                <a:gd name="T2" fmla="*/ 11 w 88"/>
                <a:gd name="T3" fmla="*/ 89 h 89"/>
                <a:gd name="T4" fmla="*/ 0 w 88"/>
                <a:gd name="T5" fmla="*/ 78 h 89"/>
                <a:gd name="T6" fmla="*/ 0 w 88"/>
                <a:gd name="T7" fmla="*/ 11 h 89"/>
                <a:gd name="T8" fmla="*/ 11 w 88"/>
                <a:gd name="T9" fmla="*/ 0 h 89"/>
                <a:gd name="T10" fmla="*/ 77 w 88"/>
                <a:gd name="T11" fmla="*/ 0 h 89"/>
                <a:gd name="T12" fmla="*/ 88 w 88"/>
                <a:gd name="T13" fmla="*/ 11 h 89"/>
                <a:gd name="T14" fmla="*/ 88 w 88"/>
                <a:gd name="T15" fmla="*/ 78 h 89"/>
                <a:gd name="T16" fmla="*/ 77 w 88"/>
                <a:gd name="T17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" h="89">
                  <a:moveTo>
                    <a:pt x="77" y="89"/>
                  </a:moveTo>
                  <a:cubicBezTo>
                    <a:pt x="11" y="89"/>
                    <a:pt x="11" y="89"/>
                    <a:pt x="11" y="89"/>
                  </a:cubicBezTo>
                  <a:cubicBezTo>
                    <a:pt x="5" y="89"/>
                    <a:pt x="0" y="84"/>
                    <a:pt x="0" y="7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3" y="0"/>
                    <a:pt x="88" y="5"/>
                    <a:pt x="88" y="11"/>
                  </a:cubicBezTo>
                  <a:cubicBezTo>
                    <a:pt x="88" y="78"/>
                    <a:pt x="88" y="78"/>
                    <a:pt x="88" y="78"/>
                  </a:cubicBezTo>
                  <a:cubicBezTo>
                    <a:pt x="88" y="84"/>
                    <a:pt x="83" y="89"/>
                    <a:pt x="77" y="89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6" name="Freeform 159">
              <a:extLst>
                <a:ext uri="{FF2B5EF4-FFF2-40B4-BE49-F238E27FC236}">
                  <a16:creationId xmlns:a16="http://schemas.microsoft.com/office/drawing/2014/main" id="{65A426BF-4565-4DC3-83A9-807C44B29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375" y="5332413"/>
              <a:ext cx="33338" cy="79375"/>
            </a:xfrm>
            <a:custGeom>
              <a:avLst/>
              <a:gdLst>
                <a:gd name="T0" fmla="*/ 9 w 9"/>
                <a:gd name="T1" fmla="*/ 21 h 21"/>
                <a:gd name="T2" fmla="*/ 9 w 9"/>
                <a:gd name="T3" fmla="*/ 20 h 21"/>
                <a:gd name="T4" fmla="*/ 9 w 9"/>
                <a:gd name="T5" fmla="*/ 5 h 21"/>
                <a:gd name="T6" fmla="*/ 5 w 9"/>
                <a:gd name="T7" fmla="*/ 0 h 21"/>
                <a:gd name="T8" fmla="*/ 0 w 9"/>
                <a:gd name="T9" fmla="*/ 5 h 21"/>
                <a:gd name="T10" fmla="*/ 0 w 9"/>
                <a:gd name="T11" fmla="*/ 20 h 21"/>
                <a:gd name="T12" fmla="*/ 0 w 9"/>
                <a:gd name="T13" fmla="*/ 21 h 21"/>
                <a:gd name="T14" fmla="*/ 9 w 9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1">
                  <a:moveTo>
                    <a:pt x="9" y="21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lnTo>
                    <a:pt x="9" y="21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7" name="Freeform 160">
              <a:extLst>
                <a:ext uri="{FF2B5EF4-FFF2-40B4-BE49-F238E27FC236}">
                  <a16:creationId xmlns:a16="http://schemas.microsoft.com/office/drawing/2014/main" id="{5647F7DA-0113-44ED-9622-DADAC74AD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0" y="5332413"/>
              <a:ext cx="34925" cy="79375"/>
            </a:xfrm>
            <a:custGeom>
              <a:avLst/>
              <a:gdLst>
                <a:gd name="T0" fmla="*/ 9 w 9"/>
                <a:gd name="T1" fmla="*/ 21 h 21"/>
                <a:gd name="T2" fmla="*/ 9 w 9"/>
                <a:gd name="T3" fmla="*/ 20 h 21"/>
                <a:gd name="T4" fmla="*/ 9 w 9"/>
                <a:gd name="T5" fmla="*/ 5 h 21"/>
                <a:gd name="T6" fmla="*/ 5 w 9"/>
                <a:gd name="T7" fmla="*/ 0 h 21"/>
                <a:gd name="T8" fmla="*/ 0 w 9"/>
                <a:gd name="T9" fmla="*/ 5 h 21"/>
                <a:gd name="T10" fmla="*/ 0 w 9"/>
                <a:gd name="T11" fmla="*/ 20 h 21"/>
                <a:gd name="T12" fmla="*/ 0 w 9"/>
                <a:gd name="T13" fmla="*/ 21 h 21"/>
                <a:gd name="T14" fmla="*/ 9 w 9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1">
                  <a:moveTo>
                    <a:pt x="9" y="21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lnTo>
                    <a:pt x="9" y="21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8" name="Freeform 161">
              <a:extLst>
                <a:ext uri="{FF2B5EF4-FFF2-40B4-BE49-F238E27FC236}">
                  <a16:creationId xmlns:a16="http://schemas.microsoft.com/office/drawing/2014/main" id="{1B60980B-B4FB-49E0-913F-DFC39CFC4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5313" y="5332413"/>
              <a:ext cx="33338" cy="79375"/>
            </a:xfrm>
            <a:custGeom>
              <a:avLst/>
              <a:gdLst>
                <a:gd name="T0" fmla="*/ 9 w 9"/>
                <a:gd name="T1" fmla="*/ 21 h 21"/>
                <a:gd name="T2" fmla="*/ 9 w 9"/>
                <a:gd name="T3" fmla="*/ 20 h 21"/>
                <a:gd name="T4" fmla="*/ 9 w 9"/>
                <a:gd name="T5" fmla="*/ 5 h 21"/>
                <a:gd name="T6" fmla="*/ 4 w 9"/>
                <a:gd name="T7" fmla="*/ 0 h 21"/>
                <a:gd name="T8" fmla="*/ 0 w 9"/>
                <a:gd name="T9" fmla="*/ 5 h 21"/>
                <a:gd name="T10" fmla="*/ 0 w 9"/>
                <a:gd name="T11" fmla="*/ 20 h 21"/>
                <a:gd name="T12" fmla="*/ 0 w 9"/>
                <a:gd name="T13" fmla="*/ 21 h 21"/>
                <a:gd name="T14" fmla="*/ 9 w 9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1">
                  <a:moveTo>
                    <a:pt x="9" y="21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lnTo>
                    <a:pt x="9" y="21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9" name="Freeform 162">
              <a:extLst>
                <a:ext uri="{FF2B5EF4-FFF2-40B4-BE49-F238E27FC236}">
                  <a16:creationId xmlns:a16="http://schemas.microsoft.com/office/drawing/2014/main" id="{99D7B1D0-CEA9-45DC-AB34-7687067B3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1988" y="5332413"/>
              <a:ext cx="34925" cy="79375"/>
            </a:xfrm>
            <a:custGeom>
              <a:avLst/>
              <a:gdLst>
                <a:gd name="T0" fmla="*/ 9 w 9"/>
                <a:gd name="T1" fmla="*/ 21 h 21"/>
                <a:gd name="T2" fmla="*/ 9 w 9"/>
                <a:gd name="T3" fmla="*/ 20 h 21"/>
                <a:gd name="T4" fmla="*/ 9 w 9"/>
                <a:gd name="T5" fmla="*/ 5 h 21"/>
                <a:gd name="T6" fmla="*/ 5 w 9"/>
                <a:gd name="T7" fmla="*/ 0 h 21"/>
                <a:gd name="T8" fmla="*/ 0 w 9"/>
                <a:gd name="T9" fmla="*/ 5 h 21"/>
                <a:gd name="T10" fmla="*/ 0 w 9"/>
                <a:gd name="T11" fmla="*/ 20 h 21"/>
                <a:gd name="T12" fmla="*/ 0 w 9"/>
                <a:gd name="T13" fmla="*/ 21 h 21"/>
                <a:gd name="T14" fmla="*/ 9 w 9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1">
                  <a:moveTo>
                    <a:pt x="9" y="21"/>
                  </a:moveTo>
                  <a:cubicBezTo>
                    <a:pt x="9" y="20"/>
                    <a:pt x="9" y="20"/>
                    <a:pt x="9" y="2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0"/>
                    <a:pt x="0" y="21"/>
                  </a:cubicBezTo>
                  <a:lnTo>
                    <a:pt x="9" y="21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0" name="Freeform 163">
              <a:extLst>
                <a:ext uri="{FF2B5EF4-FFF2-40B4-BE49-F238E27FC236}">
                  <a16:creationId xmlns:a16="http://schemas.microsoft.com/office/drawing/2014/main" id="{C8280980-7892-456C-8289-5EB4559B2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375" y="5775325"/>
              <a:ext cx="33338" cy="79375"/>
            </a:xfrm>
            <a:custGeom>
              <a:avLst/>
              <a:gdLst>
                <a:gd name="T0" fmla="*/ 9 w 9"/>
                <a:gd name="T1" fmla="*/ 0 h 21"/>
                <a:gd name="T2" fmla="*/ 9 w 9"/>
                <a:gd name="T3" fmla="*/ 1 h 21"/>
                <a:gd name="T4" fmla="*/ 9 w 9"/>
                <a:gd name="T5" fmla="*/ 16 h 21"/>
                <a:gd name="T6" fmla="*/ 5 w 9"/>
                <a:gd name="T7" fmla="*/ 21 h 21"/>
                <a:gd name="T8" fmla="*/ 0 w 9"/>
                <a:gd name="T9" fmla="*/ 16 h 21"/>
                <a:gd name="T10" fmla="*/ 0 w 9"/>
                <a:gd name="T11" fmla="*/ 1 h 21"/>
                <a:gd name="T12" fmla="*/ 0 w 9"/>
                <a:gd name="T13" fmla="*/ 0 h 21"/>
                <a:gd name="T14" fmla="*/ 9 w 9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1">
                  <a:moveTo>
                    <a:pt x="9" y="0"/>
                  </a:moveTo>
                  <a:cubicBezTo>
                    <a:pt x="9" y="0"/>
                    <a:pt x="9" y="1"/>
                    <a:pt x="9" y="1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9"/>
                    <a:pt x="7" y="21"/>
                    <a:pt x="5" y="21"/>
                  </a:cubicBezTo>
                  <a:cubicBezTo>
                    <a:pt x="2" y="21"/>
                    <a:pt x="0" y="19"/>
                    <a:pt x="0" y="1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1" name="Freeform 164">
              <a:extLst>
                <a:ext uri="{FF2B5EF4-FFF2-40B4-BE49-F238E27FC236}">
                  <a16:creationId xmlns:a16="http://schemas.microsoft.com/office/drawing/2014/main" id="{830C1A59-6ABB-49E1-A57D-E09E4F4D0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7050" y="5775325"/>
              <a:ext cx="38100" cy="79375"/>
            </a:xfrm>
            <a:custGeom>
              <a:avLst/>
              <a:gdLst>
                <a:gd name="T0" fmla="*/ 9 w 10"/>
                <a:gd name="T1" fmla="*/ 0 h 21"/>
                <a:gd name="T2" fmla="*/ 10 w 10"/>
                <a:gd name="T3" fmla="*/ 1 h 21"/>
                <a:gd name="T4" fmla="*/ 10 w 10"/>
                <a:gd name="T5" fmla="*/ 16 h 21"/>
                <a:gd name="T6" fmla="*/ 5 w 10"/>
                <a:gd name="T7" fmla="*/ 21 h 21"/>
                <a:gd name="T8" fmla="*/ 0 w 10"/>
                <a:gd name="T9" fmla="*/ 16 h 21"/>
                <a:gd name="T10" fmla="*/ 0 w 10"/>
                <a:gd name="T11" fmla="*/ 1 h 21"/>
                <a:gd name="T12" fmla="*/ 0 w 10"/>
                <a:gd name="T13" fmla="*/ 0 h 21"/>
                <a:gd name="T14" fmla="*/ 9 w 10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1">
                  <a:moveTo>
                    <a:pt x="9" y="0"/>
                  </a:moveTo>
                  <a:cubicBezTo>
                    <a:pt x="9" y="0"/>
                    <a:pt x="10" y="1"/>
                    <a:pt x="10" y="1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9"/>
                    <a:pt x="7" y="21"/>
                    <a:pt x="5" y="21"/>
                  </a:cubicBezTo>
                  <a:cubicBezTo>
                    <a:pt x="2" y="21"/>
                    <a:pt x="0" y="19"/>
                    <a:pt x="0" y="1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2" name="Freeform 165">
              <a:extLst>
                <a:ext uri="{FF2B5EF4-FFF2-40B4-BE49-F238E27FC236}">
                  <a16:creationId xmlns:a16="http://schemas.microsoft.com/office/drawing/2014/main" id="{50589DFE-0696-43F6-BE69-F7D7CA82C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5313" y="5775325"/>
              <a:ext cx="33338" cy="79375"/>
            </a:xfrm>
            <a:custGeom>
              <a:avLst/>
              <a:gdLst>
                <a:gd name="T0" fmla="*/ 9 w 9"/>
                <a:gd name="T1" fmla="*/ 0 h 21"/>
                <a:gd name="T2" fmla="*/ 9 w 9"/>
                <a:gd name="T3" fmla="*/ 1 h 21"/>
                <a:gd name="T4" fmla="*/ 9 w 9"/>
                <a:gd name="T5" fmla="*/ 16 h 21"/>
                <a:gd name="T6" fmla="*/ 4 w 9"/>
                <a:gd name="T7" fmla="*/ 21 h 21"/>
                <a:gd name="T8" fmla="*/ 0 w 9"/>
                <a:gd name="T9" fmla="*/ 16 h 21"/>
                <a:gd name="T10" fmla="*/ 0 w 9"/>
                <a:gd name="T11" fmla="*/ 1 h 21"/>
                <a:gd name="T12" fmla="*/ 0 w 9"/>
                <a:gd name="T13" fmla="*/ 0 h 21"/>
                <a:gd name="T14" fmla="*/ 9 w 9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1">
                  <a:moveTo>
                    <a:pt x="9" y="0"/>
                  </a:moveTo>
                  <a:cubicBezTo>
                    <a:pt x="9" y="0"/>
                    <a:pt x="9" y="1"/>
                    <a:pt x="9" y="1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9"/>
                    <a:pt x="7" y="21"/>
                    <a:pt x="4" y="21"/>
                  </a:cubicBezTo>
                  <a:cubicBezTo>
                    <a:pt x="2" y="21"/>
                    <a:pt x="0" y="19"/>
                    <a:pt x="0" y="1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3" name="Freeform 166">
              <a:extLst>
                <a:ext uri="{FF2B5EF4-FFF2-40B4-BE49-F238E27FC236}">
                  <a16:creationId xmlns:a16="http://schemas.microsoft.com/office/drawing/2014/main" id="{CB474914-B896-4E1D-8BDF-62E4A16A6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1988" y="5775325"/>
              <a:ext cx="34925" cy="79375"/>
            </a:xfrm>
            <a:custGeom>
              <a:avLst/>
              <a:gdLst>
                <a:gd name="T0" fmla="*/ 9 w 9"/>
                <a:gd name="T1" fmla="*/ 0 h 21"/>
                <a:gd name="T2" fmla="*/ 9 w 9"/>
                <a:gd name="T3" fmla="*/ 1 h 21"/>
                <a:gd name="T4" fmla="*/ 9 w 9"/>
                <a:gd name="T5" fmla="*/ 16 h 21"/>
                <a:gd name="T6" fmla="*/ 5 w 9"/>
                <a:gd name="T7" fmla="*/ 21 h 21"/>
                <a:gd name="T8" fmla="*/ 0 w 9"/>
                <a:gd name="T9" fmla="*/ 16 h 21"/>
                <a:gd name="T10" fmla="*/ 0 w 9"/>
                <a:gd name="T11" fmla="*/ 1 h 21"/>
                <a:gd name="T12" fmla="*/ 0 w 9"/>
                <a:gd name="T13" fmla="*/ 0 h 21"/>
                <a:gd name="T14" fmla="*/ 9 w 9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1">
                  <a:moveTo>
                    <a:pt x="9" y="0"/>
                  </a:moveTo>
                  <a:cubicBezTo>
                    <a:pt x="9" y="0"/>
                    <a:pt x="9" y="1"/>
                    <a:pt x="9" y="1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9"/>
                    <a:pt x="7" y="21"/>
                    <a:pt x="5" y="21"/>
                  </a:cubicBezTo>
                  <a:cubicBezTo>
                    <a:pt x="2" y="21"/>
                    <a:pt x="0" y="19"/>
                    <a:pt x="0" y="1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4" name="Freeform 167">
              <a:extLst>
                <a:ext uri="{FF2B5EF4-FFF2-40B4-BE49-F238E27FC236}">
                  <a16:creationId xmlns:a16="http://schemas.microsoft.com/office/drawing/2014/main" id="{DBF30A6F-8354-4BC4-A4F1-4276360DEC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3588" y="5678488"/>
              <a:ext cx="76200" cy="33338"/>
            </a:xfrm>
            <a:custGeom>
              <a:avLst/>
              <a:gdLst>
                <a:gd name="T0" fmla="*/ 0 w 20"/>
                <a:gd name="T1" fmla="*/ 0 h 9"/>
                <a:gd name="T2" fmla="*/ 0 w 20"/>
                <a:gd name="T3" fmla="*/ 0 h 9"/>
                <a:gd name="T4" fmla="*/ 16 w 20"/>
                <a:gd name="T5" fmla="*/ 0 h 9"/>
                <a:gd name="T6" fmla="*/ 20 w 20"/>
                <a:gd name="T7" fmla="*/ 4 h 9"/>
                <a:gd name="T8" fmla="*/ 16 w 20"/>
                <a:gd name="T9" fmla="*/ 9 h 9"/>
                <a:gd name="T10" fmla="*/ 0 w 20"/>
                <a:gd name="T11" fmla="*/ 9 h 9"/>
                <a:gd name="T12" fmla="*/ 0 w 20"/>
                <a:gd name="T13" fmla="*/ 9 h 9"/>
                <a:gd name="T14" fmla="*/ 0 w 20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7"/>
                    <a:pt x="18" y="9"/>
                    <a:pt x="16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5" name="Freeform 168">
              <a:extLst>
                <a:ext uri="{FF2B5EF4-FFF2-40B4-BE49-F238E27FC236}">
                  <a16:creationId xmlns:a16="http://schemas.microsoft.com/office/drawing/2014/main" id="{72B7E222-4787-40ED-8630-B0F97CDC62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3588" y="5610225"/>
              <a:ext cx="76200" cy="33338"/>
            </a:xfrm>
            <a:custGeom>
              <a:avLst/>
              <a:gdLst>
                <a:gd name="T0" fmla="*/ 0 w 20"/>
                <a:gd name="T1" fmla="*/ 0 h 9"/>
                <a:gd name="T2" fmla="*/ 0 w 20"/>
                <a:gd name="T3" fmla="*/ 0 h 9"/>
                <a:gd name="T4" fmla="*/ 16 w 20"/>
                <a:gd name="T5" fmla="*/ 0 h 9"/>
                <a:gd name="T6" fmla="*/ 20 w 20"/>
                <a:gd name="T7" fmla="*/ 4 h 9"/>
                <a:gd name="T8" fmla="*/ 16 w 20"/>
                <a:gd name="T9" fmla="*/ 9 h 9"/>
                <a:gd name="T10" fmla="*/ 0 w 20"/>
                <a:gd name="T11" fmla="*/ 9 h 9"/>
                <a:gd name="T12" fmla="*/ 0 w 20"/>
                <a:gd name="T13" fmla="*/ 9 h 9"/>
                <a:gd name="T14" fmla="*/ 0 w 20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7"/>
                    <a:pt x="18" y="9"/>
                    <a:pt x="16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6" name="Freeform 169">
              <a:extLst>
                <a:ext uri="{FF2B5EF4-FFF2-40B4-BE49-F238E27FC236}">
                  <a16:creationId xmlns:a16="http://schemas.microsoft.com/office/drawing/2014/main" id="{945625C0-89BB-4336-A4D9-8B784E941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3588" y="5543550"/>
              <a:ext cx="76200" cy="33338"/>
            </a:xfrm>
            <a:custGeom>
              <a:avLst/>
              <a:gdLst>
                <a:gd name="T0" fmla="*/ 0 w 20"/>
                <a:gd name="T1" fmla="*/ 0 h 9"/>
                <a:gd name="T2" fmla="*/ 0 w 20"/>
                <a:gd name="T3" fmla="*/ 0 h 9"/>
                <a:gd name="T4" fmla="*/ 16 w 20"/>
                <a:gd name="T5" fmla="*/ 0 h 9"/>
                <a:gd name="T6" fmla="*/ 20 w 20"/>
                <a:gd name="T7" fmla="*/ 5 h 9"/>
                <a:gd name="T8" fmla="*/ 16 w 20"/>
                <a:gd name="T9" fmla="*/ 9 h 9"/>
                <a:gd name="T10" fmla="*/ 0 w 20"/>
                <a:gd name="T11" fmla="*/ 9 h 9"/>
                <a:gd name="T12" fmla="*/ 0 w 20"/>
                <a:gd name="T13" fmla="*/ 9 h 9"/>
                <a:gd name="T14" fmla="*/ 0 w 20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20" y="2"/>
                    <a:pt x="20" y="5"/>
                  </a:cubicBezTo>
                  <a:cubicBezTo>
                    <a:pt x="20" y="7"/>
                    <a:pt x="18" y="9"/>
                    <a:pt x="16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7" name="Freeform 170">
              <a:extLst>
                <a:ext uri="{FF2B5EF4-FFF2-40B4-BE49-F238E27FC236}">
                  <a16:creationId xmlns:a16="http://schemas.microsoft.com/office/drawing/2014/main" id="{5163A99A-02A4-406D-BF5F-D658E602F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3588" y="5475288"/>
              <a:ext cx="76200" cy="33338"/>
            </a:xfrm>
            <a:custGeom>
              <a:avLst/>
              <a:gdLst>
                <a:gd name="T0" fmla="*/ 0 w 20"/>
                <a:gd name="T1" fmla="*/ 0 h 9"/>
                <a:gd name="T2" fmla="*/ 0 w 20"/>
                <a:gd name="T3" fmla="*/ 0 h 9"/>
                <a:gd name="T4" fmla="*/ 16 w 20"/>
                <a:gd name="T5" fmla="*/ 0 h 9"/>
                <a:gd name="T6" fmla="*/ 20 w 20"/>
                <a:gd name="T7" fmla="*/ 4 h 9"/>
                <a:gd name="T8" fmla="*/ 16 w 20"/>
                <a:gd name="T9" fmla="*/ 9 h 9"/>
                <a:gd name="T10" fmla="*/ 0 w 20"/>
                <a:gd name="T11" fmla="*/ 9 h 9"/>
                <a:gd name="T12" fmla="*/ 0 w 20"/>
                <a:gd name="T13" fmla="*/ 9 h 9"/>
                <a:gd name="T14" fmla="*/ 0 w 20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9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8" y="0"/>
                    <a:pt x="20" y="2"/>
                    <a:pt x="20" y="4"/>
                  </a:cubicBezTo>
                  <a:cubicBezTo>
                    <a:pt x="20" y="7"/>
                    <a:pt x="18" y="9"/>
                    <a:pt x="16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8" name="Freeform 171">
              <a:extLst>
                <a:ext uri="{FF2B5EF4-FFF2-40B4-BE49-F238E27FC236}">
                  <a16:creationId xmlns:a16="http://schemas.microsoft.com/office/drawing/2014/main" id="{ADAA4BA1-EC5D-4B84-9EAF-91380D3F6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0" y="5678488"/>
              <a:ext cx="79375" cy="33338"/>
            </a:xfrm>
            <a:custGeom>
              <a:avLst/>
              <a:gdLst>
                <a:gd name="T0" fmla="*/ 21 w 21"/>
                <a:gd name="T1" fmla="*/ 0 h 9"/>
                <a:gd name="T2" fmla="*/ 20 w 21"/>
                <a:gd name="T3" fmla="*/ 0 h 9"/>
                <a:gd name="T4" fmla="*/ 4 w 21"/>
                <a:gd name="T5" fmla="*/ 0 h 9"/>
                <a:gd name="T6" fmla="*/ 0 w 21"/>
                <a:gd name="T7" fmla="*/ 4 h 9"/>
                <a:gd name="T8" fmla="*/ 4 w 21"/>
                <a:gd name="T9" fmla="*/ 9 h 9"/>
                <a:gd name="T10" fmla="*/ 20 w 21"/>
                <a:gd name="T11" fmla="*/ 9 h 9"/>
                <a:gd name="T12" fmla="*/ 21 w 21"/>
                <a:gd name="T13" fmla="*/ 9 h 9"/>
                <a:gd name="T14" fmla="*/ 21 w 21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9">
                  <a:moveTo>
                    <a:pt x="21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1" y="9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09" name="Freeform 172">
              <a:extLst>
                <a:ext uri="{FF2B5EF4-FFF2-40B4-BE49-F238E27FC236}">
                  <a16:creationId xmlns:a16="http://schemas.microsoft.com/office/drawing/2014/main" id="{6CF96966-63BA-4509-9EEE-0312237F3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0" y="5610225"/>
              <a:ext cx="79375" cy="33338"/>
            </a:xfrm>
            <a:custGeom>
              <a:avLst/>
              <a:gdLst>
                <a:gd name="T0" fmla="*/ 21 w 21"/>
                <a:gd name="T1" fmla="*/ 0 h 9"/>
                <a:gd name="T2" fmla="*/ 20 w 21"/>
                <a:gd name="T3" fmla="*/ 0 h 9"/>
                <a:gd name="T4" fmla="*/ 4 w 21"/>
                <a:gd name="T5" fmla="*/ 0 h 9"/>
                <a:gd name="T6" fmla="*/ 0 w 21"/>
                <a:gd name="T7" fmla="*/ 4 h 9"/>
                <a:gd name="T8" fmla="*/ 4 w 21"/>
                <a:gd name="T9" fmla="*/ 9 h 9"/>
                <a:gd name="T10" fmla="*/ 20 w 21"/>
                <a:gd name="T11" fmla="*/ 9 h 9"/>
                <a:gd name="T12" fmla="*/ 21 w 21"/>
                <a:gd name="T13" fmla="*/ 9 h 9"/>
                <a:gd name="T14" fmla="*/ 21 w 21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9">
                  <a:moveTo>
                    <a:pt x="21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1" y="9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Freeform 173">
              <a:extLst>
                <a:ext uri="{FF2B5EF4-FFF2-40B4-BE49-F238E27FC236}">
                  <a16:creationId xmlns:a16="http://schemas.microsoft.com/office/drawing/2014/main" id="{C22C067A-4A9C-446E-87FD-55A45F42F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0" y="5543550"/>
              <a:ext cx="79375" cy="33338"/>
            </a:xfrm>
            <a:custGeom>
              <a:avLst/>
              <a:gdLst>
                <a:gd name="T0" fmla="*/ 21 w 21"/>
                <a:gd name="T1" fmla="*/ 0 h 9"/>
                <a:gd name="T2" fmla="*/ 20 w 21"/>
                <a:gd name="T3" fmla="*/ 0 h 9"/>
                <a:gd name="T4" fmla="*/ 4 w 21"/>
                <a:gd name="T5" fmla="*/ 0 h 9"/>
                <a:gd name="T6" fmla="*/ 0 w 21"/>
                <a:gd name="T7" fmla="*/ 5 h 9"/>
                <a:gd name="T8" fmla="*/ 4 w 21"/>
                <a:gd name="T9" fmla="*/ 9 h 9"/>
                <a:gd name="T10" fmla="*/ 20 w 21"/>
                <a:gd name="T11" fmla="*/ 9 h 9"/>
                <a:gd name="T12" fmla="*/ 21 w 21"/>
                <a:gd name="T13" fmla="*/ 9 h 9"/>
                <a:gd name="T14" fmla="*/ 21 w 21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9">
                  <a:moveTo>
                    <a:pt x="21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1" y="9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Freeform 174">
              <a:extLst>
                <a:ext uri="{FF2B5EF4-FFF2-40B4-BE49-F238E27FC236}">
                  <a16:creationId xmlns:a16="http://schemas.microsoft.com/office/drawing/2014/main" id="{8BCA18E7-F005-48C9-A8EF-A42724547C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7500" y="5475288"/>
              <a:ext cx="79375" cy="33338"/>
            </a:xfrm>
            <a:custGeom>
              <a:avLst/>
              <a:gdLst>
                <a:gd name="T0" fmla="*/ 21 w 21"/>
                <a:gd name="T1" fmla="*/ 0 h 9"/>
                <a:gd name="T2" fmla="*/ 20 w 21"/>
                <a:gd name="T3" fmla="*/ 0 h 9"/>
                <a:gd name="T4" fmla="*/ 4 w 21"/>
                <a:gd name="T5" fmla="*/ 0 h 9"/>
                <a:gd name="T6" fmla="*/ 0 w 21"/>
                <a:gd name="T7" fmla="*/ 4 h 9"/>
                <a:gd name="T8" fmla="*/ 4 w 21"/>
                <a:gd name="T9" fmla="*/ 9 h 9"/>
                <a:gd name="T10" fmla="*/ 20 w 21"/>
                <a:gd name="T11" fmla="*/ 9 h 9"/>
                <a:gd name="T12" fmla="*/ 21 w 21"/>
                <a:gd name="T13" fmla="*/ 9 h 9"/>
                <a:gd name="T14" fmla="*/ 21 w 21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9">
                  <a:moveTo>
                    <a:pt x="21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1" y="9"/>
                  </a:cubicBezTo>
                  <a:lnTo>
                    <a:pt x="21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12" name="Freeform 175">
            <a:extLst>
              <a:ext uri="{FF2B5EF4-FFF2-40B4-BE49-F238E27FC236}">
                <a16:creationId xmlns:a16="http://schemas.microsoft.com/office/drawing/2014/main" id="{D1117A0C-67B8-4049-8301-5572354F3B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223254" y="4482379"/>
            <a:ext cx="375577" cy="318309"/>
          </a:xfrm>
          <a:custGeom>
            <a:avLst/>
            <a:gdLst>
              <a:gd name="T0" fmla="*/ 11 w 119"/>
              <a:gd name="T1" fmla="*/ 0 h 101"/>
              <a:gd name="T2" fmla="*/ 0 w 119"/>
              <a:gd name="T3" fmla="*/ 90 h 101"/>
              <a:gd name="T4" fmla="*/ 108 w 119"/>
              <a:gd name="T5" fmla="*/ 101 h 101"/>
              <a:gd name="T6" fmla="*/ 119 w 119"/>
              <a:gd name="T7" fmla="*/ 11 h 101"/>
              <a:gd name="T8" fmla="*/ 89 w 119"/>
              <a:gd name="T9" fmla="*/ 18 h 101"/>
              <a:gd name="T10" fmla="*/ 101 w 119"/>
              <a:gd name="T11" fmla="*/ 18 h 101"/>
              <a:gd name="T12" fmla="*/ 89 w 119"/>
              <a:gd name="T13" fmla="*/ 57 h 101"/>
              <a:gd name="T14" fmla="*/ 54 w 119"/>
              <a:gd name="T15" fmla="*/ 18 h 101"/>
              <a:gd name="T16" fmla="*/ 67 w 119"/>
              <a:gd name="T17" fmla="*/ 18 h 101"/>
              <a:gd name="T18" fmla="*/ 54 w 119"/>
              <a:gd name="T19" fmla="*/ 26 h 101"/>
              <a:gd name="T20" fmla="*/ 19 w 119"/>
              <a:gd name="T21" fmla="*/ 18 h 101"/>
              <a:gd name="T22" fmla="*/ 32 w 119"/>
              <a:gd name="T23" fmla="*/ 18 h 101"/>
              <a:gd name="T24" fmla="*/ 19 w 119"/>
              <a:gd name="T25" fmla="*/ 46 h 101"/>
              <a:gd name="T26" fmla="*/ 32 w 119"/>
              <a:gd name="T27" fmla="*/ 83 h 101"/>
              <a:gd name="T28" fmla="*/ 19 w 119"/>
              <a:gd name="T29" fmla="*/ 83 h 101"/>
              <a:gd name="T30" fmla="*/ 32 w 119"/>
              <a:gd name="T31" fmla="*/ 65 h 101"/>
              <a:gd name="T32" fmla="*/ 36 w 119"/>
              <a:gd name="T33" fmla="*/ 61 h 101"/>
              <a:gd name="T34" fmla="*/ 10 w 119"/>
              <a:gd name="T35" fmla="*/ 56 h 101"/>
              <a:gd name="T36" fmla="*/ 36 w 119"/>
              <a:gd name="T37" fmla="*/ 51 h 101"/>
              <a:gd name="T38" fmla="*/ 36 w 119"/>
              <a:gd name="T39" fmla="*/ 61 h 101"/>
              <a:gd name="T40" fmla="*/ 61 w 119"/>
              <a:gd name="T41" fmla="*/ 90 h 101"/>
              <a:gd name="T42" fmla="*/ 54 w 119"/>
              <a:gd name="T43" fmla="*/ 45 h 101"/>
              <a:gd name="T44" fmla="*/ 67 w 119"/>
              <a:gd name="T45" fmla="*/ 83 h 101"/>
              <a:gd name="T46" fmla="*/ 50 w 119"/>
              <a:gd name="T47" fmla="*/ 40 h 101"/>
              <a:gd name="T48" fmla="*/ 50 w 119"/>
              <a:gd name="T49" fmla="*/ 31 h 101"/>
              <a:gd name="T50" fmla="*/ 75 w 119"/>
              <a:gd name="T51" fmla="*/ 36 h 101"/>
              <a:gd name="T52" fmla="*/ 101 w 119"/>
              <a:gd name="T53" fmla="*/ 83 h 101"/>
              <a:gd name="T54" fmla="*/ 89 w 119"/>
              <a:gd name="T55" fmla="*/ 83 h 101"/>
              <a:gd name="T56" fmla="*/ 101 w 119"/>
              <a:gd name="T57" fmla="*/ 76 h 101"/>
              <a:gd name="T58" fmla="*/ 105 w 119"/>
              <a:gd name="T59" fmla="*/ 71 h 101"/>
              <a:gd name="T60" fmla="*/ 81 w 119"/>
              <a:gd name="T61" fmla="*/ 67 h 101"/>
              <a:gd name="T62" fmla="*/ 105 w 119"/>
              <a:gd name="T63" fmla="*/ 62 h 101"/>
              <a:gd name="T64" fmla="*/ 105 w 119"/>
              <a:gd name="T65" fmla="*/ 7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19" h="101">
                <a:moveTo>
                  <a:pt x="108" y="0"/>
                </a:moveTo>
                <a:cubicBezTo>
                  <a:pt x="11" y="0"/>
                  <a:pt x="11" y="0"/>
                  <a:pt x="11" y="0"/>
                </a:cubicBezTo>
                <a:cubicBezTo>
                  <a:pt x="5" y="0"/>
                  <a:pt x="0" y="5"/>
                  <a:pt x="0" y="11"/>
                </a:cubicBezTo>
                <a:cubicBezTo>
                  <a:pt x="0" y="90"/>
                  <a:pt x="0" y="90"/>
                  <a:pt x="0" y="90"/>
                </a:cubicBezTo>
                <a:cubicBezTo>
                  <a:pt x="0" y="96"/>
                  <a:pt x="5" y="101"/>
                  <a:pt x="11" y="101"/>
                </a:cubicBezTo>
                <a:cubicBezTo>
                  <a:pt x="108" y="101"/>
                  <a:pt x="108" y="101"/>
                  <a:pt x="108" y="101"/>
                </a:cubicBezTo>
                <a:cubicBezTo>
                  <a:pt x="114" y="101"/>
                  <a:pt x="119" y="96"/>
                  <a:pt x="119" y="90"/>
                </a:cubicBezTo>
                <a:cubicBezTo>
                  <a:pt x="119" y="11"/>
                  <a:pt x="119" y="11"/>
                  <a:pt x="119" y="11"/>
                </a:cubicBezTo>
                <a:cubicBezTo>
                  <a:pt x="119" y="5"/>
                  <a:pt x="114" y="0"/>
                  <a:pt x="108" y="0"/>
                </a:cubicBezTo>
                <a:close/>
                <a:moveTo>
                  <a:pt x="89" y="18"/>
                </a:moveTo>
                <a:cubicBezTo>
                  <a:pt x="89" y="15"/>
                  <a:pt x="91" y="12"/>
                  <a:pt x="95" y="12"/>
                </a:cubicBezTo>
                <a:cubicBezTo>
                  <a:pt x="98" y="12"/>
                  <a:pt x="101" y="15"/>
                  <a:pt x="101" y="18"/>
                </a:cubicBezTo>
                <a:cubicBezTo>
                  <a:pt x="101" y="57"/>
                  <a:pt x="101" y="57"/>
                  <a:pt x="101" y="57"/>
                </a:cubicBezTo>
                <a:cubicBezTo>
                  <a:pt x="89" y="57"/>
                  <a:pt x="89" y="57"/>
                  <a:pt x="89" y="57"/>
                </a:cubicBezTo>
                <a:lnTo>
                  <a:pt x="89" y="18"/>
                </a:lnTo>
                <a:close/>
                <a:moveTo>
                  <a:pt x="54" y="18"/>
                </a:moveTo>
                <a:cubicBezTo>
                  <a:pt x="54" y="15"/>
                  <a:pt x="57" y="12"/>
                  <a:pt x="61" y="12"/>
                </a:cubicBezTo>
                <a:cubicBezTo>
                  <a:pt x="64" y="12"/>
                  <a:pt x="67" y="15"/>
                  <a:pt x="67" y="18"/>
                </a:cubicBezTo>
                <a:cubicBezTo>
                  <a:pt x="67" y="26"/>
                  <a:pt x="67" y="26"/>
                  <a:pt x="67" y="26"/>
                </a:cubicBezTo>
                <a:cubicBezTo>
                  <a:pt x="54" y="26"/>
                  <a:pt x="54" y="26"/>
                  <a:pt x="54" y="26"/>
                </a:cubicBezTo>
                <a:lnTo>
                  <a:pt x="54" y="18"/>
                </a:lnTo>
                <a:close/>
                <a:moveTo>
                  <a:pt x="19" y="18"/>
                </a:moveTo>
                <a:cubicBezTo>
                  <a:pt x="19" y="15"/>
                  <a:pt x="22" y="12"/>
                  <a:pt x="26" y="12"/>
                </a:cubicBezTo>
                <a:cubicBezTo>
                  <a:pt x="29" y="12"/>
                  <a:pt x="32" y="15"/>
                  <a:pt x="32" y="18"/>
                </a:cubicBezTo>
                <a:cubicBezTo>
                  <a:pt x="32" y="46"/>
                  <a:pt x="32" y="46"/>
                  <a:pt x="32" y="46"/>
                </a:cubicBezTo>
                <a:cubicBezTo>
                  <a:pt x="19" y="46"/>
                  <a:pt x="19" y="46"/>
                  <a:pt x="19" y="46"/>
                </a:cubicBezTo>
                <a:lnTo>
                  <a:pt x="19" y="18"/>
                </a:lnTo>
                <a:close/>
                <a:moveTo>
                  <a:pt x="32" y="83"/>
                </a:moveTo>
                <a:cubicBezTo>
                  <a:pt x="32" y="87"/>
                  <a:pt x="29" y="90"/>
                  <a:pt x="26" y="90"/>
                </a:cubicBezTo>
                <a:cubicBezTo>
                  <a:pt x="22" y="90"/>
                  <a:pt x="19" y="87"/>
                  <a:pt x="19" y="83"/>
                </a:cubicBezTo>
                <a:cubicBezTo>
                  <a:pt x="19" y="65"/>
                  <a:pt x="19" y="65"/>
                  <a:pt x="19" y="65"/>
                </a:cubicBezTo>
                <a:cubicBezTo>
                  <a:pt x="32" y="65"/>
                  <a:pt x="32" y="65"/>
                  <a:pt x="32" y="65"/>
                </a:cubicBezTo>
                <a:lnTo>
                  <a:pt x="32" y="83"/>
                </a:lnTo>
                <a:close/>
                <a:moveTo>
                  <a:pt x="36" y="61"/>
                </a:moveTo>
                <a:cubicBezTo>
                  <a:pt x="15" y="61"/>
                  <a:pt x="15" y="61"/>
                  <a:pt x="15" y="61"/>
                </a:cubicBezTo>
                <a:cubicBezTo>
                  <a:pt x="12" y="61"/>
                  <a:pt x="10" y="59"/>
                  <a:pt x="10" y="56"/>
                </a:cubicBezTo>
                <a:cubicBezTo>
                  <a:pt x="10" y="54"/>
                  <a:pt x="12" y="51"/>
                  <a:pt x="15" y="51"/>
                </a:cubicBezTo>
                <a:cubicBezTo>
                  <a:pt x="36" y="51"/>
                  <a:pt x="36" y="51"/>
                  <a:pt x="36" y="51"/>
                </a:cubicBezTo>
                <a:cubicBezTo>
                  <a:pt x="38" y="51"/>
                  <a:pt x="41" y="54"/>
                  <a:pt x="41" y="56"/>
                </a:cubicBezTo>
                <a:cubicBezTo>
                  <a:pt x="41" y="59"/>
                  <a:pt x="38" y="61"/>
                  <a:pt x="36" y="61"/>
                </a:cubicBezTo>
                <a:close/>
                <a:moveTo>
                  <a:pt x="67" y="83"/>
                </a:moveTo>
                <a:cubicBezTo>
                  <a:pt x="67" y="87"/>
                  <a:pt x="64" y="90"/>
                  <a:pt x="61" y="90"/>
                </a:cubicBezTo>
                <a:cubicBezTo>
                  <a:pt x="57" y="90"/>
                  <a:pt x="54" y="87"/>
                  <a:pt x="54" y="83"/>
                </a:cubicBezTo>
                <a:cubicBezTo>
                  <a:pt x="54" y="45"/>
                  <a:pt x="54" y="45"/>
                  <a:pt x="54" y="45"/>
                </a:cubicBezTo>
                <a:cubicBezTo>
                  <a:pt x="67" y="45"/>
                  <a:pt x="67" y="45"/>
                  <a:pt x="67" y="45"/>
                </a:cubicBezTo>
                <a:lnTo>
                  <a:pt x="67" y="83"/>
                </a:lnTo>
                <a:close/>
                <a:moveTo>
                  <a:pt x="70" y="40"/>
                </a:moveTo>
                <a:cubicBezTo>
                  <a:pt x="50" y="40"/>
                  <a:pt x="50" y="40"/>
                  <a:pt x="50" y="40"/>
                </a:cubicBezTo>
                <a:cubicBezTo>
                  <a:pt x="47" y="40"/>
                  <a:pt x="45" y="38"/>
                  <a:pt x="45" y="36"/>
                </a:cubicBezTo>
                <a:cubicBezTo>
                  <a:pt x="45" y="33"/>
                  <a:pt x="47" y="31"/>
                  <a:pt x="50" y="31"/>
                </a:cubicBezTo>
                <a:cubicBezTo>
                  <a:pt x="70" y="31"/>
                  <a:pt x="70" y="31"/>
                  <a:pt x="70" y="31"/>
                </a:cubicBezTo>
                <a:cubicBezTo>
                  <a:pt x="73" y="31"/>
                  <a:pt x="75" y="33"/>
                  <a:pt x="75" y="36"/>
                </a:cubicBezTo>
                <a:cubicBezTo>
                  <a:pt x="75" y="38"/>
                  <a:pt x="73" y="40"/>
                  <a:pt x="70" y="40"/>
                </a:cubicBezTo>
                <a:close/>
                <a:moveTo>
                  <a:pt x="101" y="83"/>
                </a:moveTo>
                <a:cubicBezTo>
                  <a:pt x="101" y="87"/>
                  <a:pt x="98" y="90"/>
                  <a:pt x="95" y="90"/>
                </a:cubicBezTo>
                <a:cubicBezTo>
                  <a:pt x="91" y="90"/>
                  <a:pt x="89" y="87"/>
                  <a:pt x="89" y="83"/>
                </a:cubicBezTo>
                <a:cubicBezTo>
                  <a:pt x="89" y="76"/>
                  <a:pt x="89" y="76"/>
                  <a:pt x="89" y="76"/>
                </a:cubicBezTo>
                <a:cubicBezTo>
                  <a:pt x="101" y="76"/>
                  <a:pt x="101" y="76"/>
                  <a:pt x="101" y="76"/>
                </a:cubicBezTo>
                <a:lnTo>
                  <a:pt x="101" y="83"/>
                </a:lnTo>
                <a:close/>
                <a:moveTo>
                  <a:pt x="105" y="71"/>
                </a:moveTo>
                <a:cubicBezTo>
                  <a:pt x="85" y="71"/>
                  <a:pt x="85" y="71"/>
                  <a:pt x="85" y="71"/>
                </a:cubicBezTo>
                <a:cubicBezTo>
                  <a:pt x="83" y="71"/>
                  <a:pt x="81" y="69"/>
                  <a:pt x="81" y="67"/>
                </a:cubicBezTo>
                <a:cubicBezTo>
                  <a:pt x="81" y="64"/>
                  <a:pt x="83" y="62"/>
                  <a:pt x="85" y="62"/>
                </a:cubicBezTo>
                <a:cubicBezTo>
                  <a:pt x="105" y="62"/>
                  <a:pt x="105" y="62"/>
                  <a:pt x="105" y="62"/>
                </a:cubicBezTo>
                <a:cubicBezTo>
                  <a:pt x="108" y="62"/>
                  <a:pt x="110" y="64"/>
                  <a:pt x="110" y="67"/>
                </a:cubicBezTo>
                <a:cubicBezTo>
                  <a:pt x="110" y="69"/>
                  <a:pt x="108" y="71"/>
                  <a:pt x="105" y="71"/>
                </a:cubicBezTo>
                <a:close/>
              </a:path>
            </a:pathLst>
          </a:custGeom>
          <a:solidFill>
            <a:srgbClr val="D3072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213" name="Group 12522">
            <a:extLst>
              <a:ext uri="{FF2B5EF4-FFF2-40B4-BE49-F238E27FC236}">
                <a16:creationId xmlns:a16="http://schemas.microsoft.com/office/drawing/2014/main" id="{246CAF55-31BE-49DF-B9CA-757C67E6B05E}"/>
              </a:ext>
            </a:extLst>
          </p:cNvPr>
          <p:cNvGrpSpPr/>
          <p:nvPr userDrawn="1"/>
        </p:nvGrpSpPr>
        <p:grpSpPr>
          <a:xfrm>
            <a:off x="7126646" y="4421575"/>
            <a:ext cx="415533" cy="468806"/>
            <a:chOff x="7558088" y="5265738"/>
            <a:chExt cx="495300" cy="558800"/>
          </a:xfrm>
        </p:grpSpPr>
        <p:sp>
          <p:nvSpPr>
            <p:cNvPr id="214" name="Rectangle 176">
              <a:extLst>
                <a:ext uri="{FF2B5EF4-FFF2-40B4-BE49-F238E27FC236}">
                  <a16:creationId xmlns:a16="http://schemas.microsoft.com/office/drawing/2014/main" id="{26964DEB-E935-4884-BA78-2AD07785CD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9525" y="5557838"/>
              <a:ext cx="88900" cy="74613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5" name="Rectangle 177">
              <a:extLst>
                <a:ext uri="{FF2B5EF4-FFF2-40B4-BE49-F238E27FC236}">
                  <a16:creationId xmlns:a16="http://schemas.microsoft.com/office/drawing/2014/main" id="{1F3B7DC7-8221-4653-954A-E436E51A9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2238" y="5557838"/>
              <a:ext cx="201613" cy="74613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6" name="Rectangle 178">
              <a:extLst>
                <a:ext uri="{FF2B5EF4-FFF2-40B4-BE49-F238E27FC236}">
                  <a16:creationId xmlns:a16="http://schemas.microsoft.com/office/drawing/2014/main" id="{9D6C7837-2429-444E-ACEE-D2B7477297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2900" y="5557838"/>
              <a:ext cx="90488" cy="74613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7" name="Rectangle 179">
              <a:extLst>
                <a:ext uri="{FF2B5EF4-FFF2-40B4-BE49-F238E27FC236}">
                  <a16:creationId xmlns:a16="http://schemas.microsoft.com/office/drawing/2014/main" id="{F9B66151-212B-4EB3-8785-5D88067230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9525" y="5748338"/>
              <a:ext cx="88900" cy="76200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8" name="Rectangle 180">
              <a:extLst>
                <a:ext uri="{FF2B5EF4-FFF2-40B4-BE49-F238E27FC236}">
                  <a16:creationId xmlns:a16="http://schemas.microsoft.com/office/drawing/2014/main" id="{345419F9-C0A0-4781-AC96-EB547C9673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42238" y="5748338"/>
              <a:ext cx="201613" cy="76200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Rectangle 181">
              <a:extLst>
                <a:ext uri="{FF2B5EF4-FFF2-40B4-BE49-F238E27FC236}">
                  <a16:creationId xmlns:a16="http://schemas.microsoft.com/office/drawing/2014/main" id="{C8FE1618-092A-4856-9AAC-1C97FE1748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2900" y="5748338"/>
              <a:ext cx="90488" cy="76200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0" name="Rectangle 182">
              <a:extLst>
                <a:ext uri="{FF2B5EF4-FFF2-40B4-BE49-F238E27FC236}">
                  <a16:creationId xmlns:a16="http://schemas.microsoft.com/office/drawing/2014/main" id="{1531DA16-AA16-49D3-BED0-40D5D0232E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29525" y="5651500"/>
              <a:ext cx="195263" cy="74613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1" name="Rectangle 183">
              <a:extLst>
                <a:ext uri="{FF2B5EF4-FFF2-40B4-BE49-F238E27FC236}">
                  <a16:creationId xmlns:a16="http://schemas.microsoft.com/office/drawing/2014/main" id="{760026F1-5FC4-4442-B2E2-D68F1B9493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3363" y="5651500"/>
              <a:ext cx="200025" cy="74613"/>
            </a:xfrm>
            <a:prstGeom prst="rect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2" name="Freeform 184">
              <a:extLst>
                <a:ext uri="{FF2B5EF4-FFF2-40B4-BE49-F238E27FC236}">
                  <a16:creationId xmlns:a16="http://schemas.microsoft.com/office/drawing/2014/main" id="{723983FC-569C-40B8-B336-FFF3DF833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8088" y="5265738"/>
              <a:ext cx="495300" cy="269875"/>
            </a:xfrm>
            <a:custGeom>
              <a:avLst/>
              <a:gdLst>
                <a:gd name="T0" fmla="*/ 132 w 132"/>
                <a:gd name="T1" fmla="*/ 72 h 72"/>
                <a:gd name="T2" fmla="*/ 19 w 132"/>
                <a:gd name="T3" fmla="*/ 72 h 72"/>
                <a:gd name="T4" fmla="*/ 19 w 132"/>
                <a:gd name="T5" fmla="*/ 24 h 72"/>
                <a:gd name="T6" fmla="*/ 59 w 132"/>
                <a:gd name="T7" fmla="*/ 58 h 72"/>
                <a:gd name="T8" fmla="*/ 48 w 132"/>
                <a:gd name="T9" fmla="*/ 24 h 72"/>
                <a:gd name="T10" fmla="*/ 77 w 132"/>
                <a:gd name="T11" fmla="*/ 0 h 72"/>
                <a:gd name="T12" fmla="*/ 74 w 132"/>
                <a:gd name="T13" fmla="*/ 24 h 72"/>
                <a:gd name="T14" fmla="*/ 106 w 132"/>
                <a:gd name="T15" fmla="*/ 52 h 72"/>
                <a:gd name="T16" fmla="*/ 94 w 132"/>
                <a:gd name="T17" fmla="*/ 13 h 72"/>
                <a:gd name="T18" fmla="*/ 132 w 132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72">
                  <a:moveTo>
                    <a:pt x="132" y="72"/>
                  </a:moveTo>
                  <a:cubicBezTo>
                    <a:pt x="124" y="72"/>
                    <a:pt x="25" y="72"/>
                    <a:pt x="19" y="72"/>
                  </a:cubicBezTo>
                  <a:cubicBezTo>
                    <a:pt x="0" y="43"/>
                    <a:pt x="19" y="24"/>
                    <a:pt x="19" y="24"/>
                  </a:cubicBezTo>
                  <a:cubicBezTo>
                    <a:pt x="19" y="24"/>
                    <a:pt x="23" y="57"/>
                    <a:pt x="59" y="58"/>
                  </a:cubicBezTo>
                  <a:cubicBezTo>
                    <a:pt x="69" y="51"/>
                    <a:pt x="46" y="39"/>
                    <a:pt x="48" y="24"/>
                  </a:cubicBezTo>
                  <a:cubicBezTo>
                    <a:pt x="50" y="9"/>
                    <a:pt x="77" y="0"/>
                    <a:pt x="77" y="0"/>
                  </a:cubicBezTo>
                  <a:cubicBezTo>
                    <a:pt x="77" y="0"/>
                    <a:pt x="66" y="15"/>
                    <a:pt x="74" y="24"/>
                  </a:cubicBezTo>
                  <a:cubicBezTo>
                    <a:pt x="81" y="34"/>
                    <a:pt x="98" y="37"/>
                    <a:pt x="106" y="52"/>
                  </a:cubicBezTo>
                  <a:cubicBezTo>
                    <a:pt x="114" y="34"/>
                    <a:pt x="94" y="13"/>
                    <a:pt x="94" y="13"/>
                  </a:cubicBezTo>
                  <a:cubicBezTo>
                    <a:pt x="94" y="13"/>
                    <a:pt x="131" y="19"/>
                    <a:pt x="132" y="7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23" name="Group 12486">
            <a:extLst>
              <a:ext uri="{FF2B5EF4-FFF2-40B4-BE49-F238E27FC236}">
                <a16:creationId xmlns:a16="http://schemas.microsoft.com/office/drawing/2014/main" id="{3E98A9B6-8BB4-4F77-8C8F-16E0C91F3B91}"/>
              </a:ext>
            </a:extLst>
          </p:cNvPr>
          <p:cNvGrpSpPr/>
          <p:nvPr userDrawn="1"/>
        </p:nvGrpSpPr>
        <p:grpSpPr>
          <a:xfrm>
            <a:off x="8028430" y="4456011"/>
            <a:ext cx="459484" cy="383569"/>
            <a:chOff x="8626475" y="5310188"/>
            <a:chExt cx="547688" cy="457200"/>
          </a:xfrm>
        </p:grpSpPr>
        <p:sp>
          <p:nvSpPr>
            <p:cNvPr id="224" name="Freeform 185">
              <a:extLst>
                <a:ext uri="{FF2B5EF4-FFF2-40B4-BE49-F238E27FC236}">
                  <a16:creationId xmlns:a16="http://schemas.microsoft.com/office/drawing/2014/main" id="{53463D20-3ACE-41C2-A337-57886D04BB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9225" y="5486400"/>
              <a:ext cx="134938" cy="79375"/>
            </a:xfrm>
            <a:custGeom>
              <a:avLst/>
              <a:gdLst>
                <a:gd name="T0" fmla="*/ 33 w 36"/>
                <a:gd name="T1" fmla="*/ 21 h 21"/>
                <a:gd name="T2" fmla="*/ 3 w 36"/>
                <a:gd name="T3" fmla="*/ 21 h 21"/>
                <a:gd name="T4" fmla="*/ 0 w 36"/>
                <a:gd name="T5" fmla="*/ 18 h 21"/>
                <a:gd name="T6" fmla="*/ 0 w 36"/>
                <a:gd name="T7" fmla="*/ 3 h 21"/>
                <a:gd name="T8" fmla="*/ 3 w 36"/>
                <a:gd name="T9" fmla="*/ 0 h 21"/>
                <a:gd name="T10" fmla="*/ 33 w 36"/>
                <a:gd name="T11" fmla="*/ 0 h 21"/>
                <a:gd name="T12" fmla="*/ 36 w 36"/>
                <a:gd name="T13" fmla="*/ 3 h 21"/>
                <a:gd name="T14" fmla="*/ 36 w 36"/>
                <a:gd name="T15" fmla="*/ 18 h 21"/>
                <a:gd name="T16" fmla="*/ 33 w 36"/>
                <a:gd name="T1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1">
                  <a:moveTo>
                    <a:pt x="33" y="21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1" y="21"/>
                    <a:pt x="0" y="19"/>
                    <a:pt x="0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2"/>
                    <a:pt x="36" y="3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9"/>
                    <a:pt x="35" y="21"/>
                    <a:pt x="33" y="21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Freeform 186">
              <a:extLst>
                <a:ext uri="{FF2B5EF4-FFF2-40B4-BE49-F238E27FC236}">
                  <a16:creationId xmlns:a16="http://schemas.microsoft.com/office/drawing/2014/main" id="{A9EA3323-704F-4825-8C38-C97560D71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9225" y="5689600"/>
              <a:ext cx="134938" cy="74613"/>
            </a:xfrm>
            <a:custGeom>
              <a:avLst/>
              <a:gdLst>
                <a:gd name="T0" fmla="*/ 33 w 36"/>
                <a:gd name="T1" fmla="*/ 20 h 20"/>
                <a:gd name="T2" fmla="*/ 3 w 36"/>
                <a:gd name="T3" fmla="*/ 20 h 20"/>
                <a:gd name="T4" fmla="*/ 0 w 36"/>
                <a:gd name="T5" fmla="*/ 17 h 20"/>
                <a:gd name="T6" fmla="*/ 0 w 36"/>
                <a:gd name="T7" fmla="*/ 3 h 20"/>
                <a:gd name="T8" fmla="*/ 3 w 36"/>
                <a:gd name="T9" fmla="*/ 0 h 20"/>
                <a:gd name="T10" fmla="*/ 33 w 36"/>
                <a:gd name="T11" fmla="*/ 0 h 20"/>
                <a:gd name="T12" fmla="*/ 36 w 36"/>
                <a:gd name="T13" fmla="*/ 3 h 20"/>
                <a:gd name="T14" fmla="*/ 36 w 36"/>
                <a:gd name="T15" fmla="*/ 17 h 20"/>
                <a:gd name="T16" fmla="*/ 33 w 36"/>
                <a:gd name="T1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20">
                  <a:moveTo>
                    <a:pt x="33" y="20"/>
                  </a:moveTo>
                  <a:cubicBezTo>
                    <a:pt x="3" y="20"/>
                    <a:pt x="3" y="20"/>
                    <a:pt x="3" y="20"/>
                  </a:cubicBezTo>
                  <a:cubicBezTo>
                    <a:pt x="1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5" y="0"/>
                    <a:pt x="36" y="1"/>
                    <a:pt x="36" y="3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9"/>
                    <a:pt x="35" y="20"/>
                    <a:pt x="33" y="2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6" name="Freeform 187">
              <a:extLst>
                <a:ext uri="{FF2B5EF4-FFF2-40B4-BE49-F238E27FC236}">
                  <a16:creationId xmlns:a16="http://schemas.microsoft.com/office/drawing/2014/main" id="{437B2F47-8832-4156-849A-E4B6453D4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7463" y="5486400"/>
              <a:ext cx="104775" cy="79375"/>
            </a:xfrm>
            <a:custGeom>
              <a:avLst/>
              <a:gdLst>
                <a:gd name="T0" fmla="*/ 25 w 28"/>
                <a:gd name="T1" fmla="*/ 0 h 21"/>
                <a:gd name="T2" fmla="*/ 0 w 28"/>
                <a:gd name="T3" fmla="*/ 0 h 21"/>
                <a:gd name="T4" fmla="*/ 2 w 28"/>
                <a:gd name="T5" fmla="*/ 5 h 21"/>
                <a:gd name="T6" fmla="*/ 14 w 28"/>
                <a:gd name="T7" fmla="*/ 21 h 21"/>
                <a:gd name="T8" fmla="*/ 25 w 28"/>
                <a:gd name="T9" fmla="*/ 21 h 21"/>
                <a:gd name="T10" fmla="*/ 28 w 28"/>
                <a:gd name="T11" fmla="*/ 18 h 21"/>
                <a:gd name="T12" fmla="*/ 28 w 28"/>
                <a:gd name="T13" fmla="*/ 3 h 21"/>
                <a:gd name="T14" fmla="*/ 25 w 28"/>
                <a:gd name="T15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1">
                  <a:moveTo>
                    <a:pt x="2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5"/>
                    <a:pt x="2" y="5"/>
                  </a:cubicBezTo>
                  <a:cubicBezTo>
                    <a:pt x="4" y="7"/>
                    <a:pt x="10" y="11"/>
                    <a:pt x="1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7" y="21"/>
                    <a:pt x="28" y="19"/>
                    <a:pt x="28" y="18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7" name="Freeform 188">
              <a:extLst>
                <a:ext uri="{FF2B5EF4-FFF2-40B4-BE49-F238E27FC236}">
                  <a16:creationId xmlns:a16="http://schemas.microsoft.com/office/drawing/2014/main" id="{CD2EA118-52CC-4972-AB8D-63866B8871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788" y="5588000"/>
              <a:ext cx="206375" cy="74613"/>
            </a:xfrm>
            <a:custGeom>
              <a:avLst/>
              <a:gdLst>
                <a:gd name="T0" fmla="*/ 52 w 55"/>
                <a:gd name="T1" fmla="*/ 0 h 20"/>
                <a:gd name="T2" fmla="*/ 0 w 55"/>
                <a:gd name="T3" fmla="*/ 0 h 20"/>
                <a:gd name="T4" fmla="*/ 2 w 55"/>
                <a:gd name="T5" fmla="*/ 12 h 20"/>
                <a:gd name="T6" fmla="*/ 1 w 55"/>
                <a:gd name="T7" fmla="*/ 20 h 20"/>
                <a:gd name="T8" fmla="*/ 52 w 55"/>
                <a:gd name="T9" fmla="*/ 20 h 20"/>
                <a:gd name="T10" fmla="*/ 55 w 55"/>
                <a:gd name="T11" fmla="*/ 18 h 20"/>
                <a:gd name="T12" fmla="*/ 55 w 55"/>
                <a:gd name="T13" fmla="*/ 3 h 20"/>
                <a:gd name="T14" fmla="*/ 52 w 55"/>
                <a:gd name="T1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20">
                  <a:moveTo>
                    <a:pt x="5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4"/>
                    <a:pt x="1" y="7"/>
                    <a:pt x="2" y="12"/>
                  </a:cubicBezTo>
                  <a:cubicBezTo>
                    <a:pt x="2" y="15"/>
                    <a:pt x="1" y="18"/>
                    <a:pt x="1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4" y="20"/>
                    <a:pt x="55" y="19"/>
                    <a:pt x="55" y="18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2"/>
                    <a:pt x="54" y="0"/>
                    <a:pt x="52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8" name="Freeform 189">
              <a:extLst>
                <a:ext uri="{FF2B5EF4-FFF2-40B4-BE49-F238E27FC236}">
                  <a16:creationId xmlns:a16="http://schemas.microsoft.com/office/drawing/2014/main" id="{D0D40183-A8CD-43F5-91E4-412B7F6D1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23338" y="5689600"/>
              <a:ext cx="88900" cy="74613"/>
            </a:xfrm>
            <a:custGeom>
              <a:avLst/>
              <a:gdLst>
                <a:gd name="T0" fmla="*/ 21 w 24"/>
                <a:gd name="T1" fmla="*/ 0 h 20"/>
                <a:gd name="T2" fmla="*/ 11 w 24"/>
                <a:gd name="T3" fmla="*/ 0 h 20"/>
                <a:gd name="T4" fmla="*/ 0 w 24"/>
                <a:gd name="T5" fmla="*/ 20 h 20"/>
                <a:gd name="T6" fmla="*/ 21 w 24"/>
                <a:gd name="T7" fmla="*/ 20 h 20"/>
                <a:gd name="T8" fmla="*/ 24 w 24"/>
                <a:gd name="T9" fmla="*/ 17 h 20"/>
                <a:gd name="T10" fmla="*/ 24 w 24"/>
                <a:gd name="T11" fmla="*/ 3 h 20"/>
                <a:gd name="T12" fmla="*/ 21 w 24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0">
                  <a:moveTo>
                    <a:pt x="21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9" y="9"/>
                    <a:pt x="4" y="16"/>
                    <a:pt x="0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3" y="20"/>
                    <a:pt x="24" y="19"/>
                    <a:pt x="24" y="17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1"/>
                    <a:pt x="23" y="0"/>
                    <a:pt x="21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9" name="Freeform 190">
              <a:extLst>
                <a:ext uri="{FF2B5EF4-FFF2-40B4-BE49-F238E27FC236}">
                  <a16:creationId xmlns:a16="http://schemas.microsoft.com/office/drawing/2014/main" id="{C6EB0C00-EC0F-4E25-9023-EB2F4E074A6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26475" y="5310188"/>
              <a:ext cx="341313" cy="457200"/>
            </a:xfrm>
            <a:custGeom>
              <a:avLst/>
              <a:gdLst>
                <a:gd name="T0" fmla="*/ 28 w 91"/>
                <a:gd name="T1" fmla="*/ 122 h 122"/>
                <a:gd name="T2" fmla="*/ 7 w 91"/>
                <a:gd name="T3" fmla="*/ 78 h 122"/>
                <a:gd name="T4" fmla="*/ 32 w 91"/>
                <a:gd name="T5" fmla="*/ 36 h 122"/>
                <a:gd name="T6" fmla="*/ 34 w 91"/>
                <a:gd name="T7" fmla="*/ 0 h 122"/>
                <a:gd name="T8" fmla="*/ 51 w 91"/>
                <a:gd name="T9" fmla="*/ 47 h 122"/>
                <a:gd name="T10" fmla="*/ 58 w 91"/>
                <a:gd name="T11" fmla="*/ 23 h 122"/>
                <a:gd name="T12" fmla="*/ 70 w 91"/>
                <a:gd name="T13" fmla="*/ 58 h 122"/>
                <a:gd name="T14" fmla="*/ 82 w 91"/>
                <a:gd name="T15" fmla="*/ 100 h 122"/>
                <a:gd name="T16" fmla="*/ 62 w 91"/>
                <a:gd name="T17" fmla="*/ 122 h 122"/>
                <a:gd name="T18" fmla="*/ 55 w 91"/>
                <a:gd name="T19" fmla="*/ 97 h 122"/>
                <a:gd name="T20" fmla="*/ 45 w 91"/>
                <a:gd name="T21" fmla="*/ 75 h 122"/>
                <a:gd name="T22" fmla="*/ 34 w 91"/>
                <a:gd name="T23" fmla="*/ 99 h 122"/>
                <a:gd name="T24" fmla="*/ 28 w 91"/>
                <a:gd name="T2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22">
                  <a:moveTo>
                    <a:pt x="28" y="122"/>
                  </a:moveTo>
                  <a:cubicBezTo>
                    <a:pt x="28" y="122"/>
                    <a:pt x="0" y="107"/>
                    <a:pt x="7" y="78"/>
                  </a:cubicBezTo>
                  <a:cubicBezTo>
                    <a:pt x="11" y="64"/>
                    <a:pt x="26" y="53"/>
                    <a:pt x="32" y="36"/>
                  </a:cubicBezTo>
                  <a:cubicBezTo>
                    <a:pt x="38" y="16"/>
                    <a:pt x="35" y="10"/>
                    <a:pt x="34" y="0"/>
                  </a:cubicBezTo>
                  <a:cubicBezTo>
                    <a:pt x="34" y="0"/>
                    <a:pt x="48" y="20"/>
                    <a:pt x="51" y="47"/>
                  </a:cubicBezTo>
                  <a:cubicBezTo>
                    <a:pt x="52" y="45"/>
                    <a:pt x="58" y="23"/>
                    <a:pt x="58" y="23"/>
                  </a:cubicBezTo>
                  <a:cubicBezTo>
                    <a:pt x="58" y="23"/>
                    <a:pt x="62" y="49"/>
                    <a:pt x="70" y="58"/>
                  </a:cubicBezTo>
                  <a:cubicBezTo>
                    <a:pt x="75" y="62"/>
                    <a:pt x="91" y="74"/>
                    <a:pt x="82" y="100"/>
                  </a:cubicBezTo>
                  <a:cubicBezTo>
                    <a:pt x="76" y="117"/>
                    <a:pt x="62" y="122"/>
                    <a:pt x="62" y="122"/>
                  </a:cubicBezTo>
                  <a:cubicBezTo>
                    <a:pt x="62" y="122"/>
                    <a:pt x="69" y="108"/>
                    <a:pt x="55" y="97"/>
                  </a:cubicBezTo>
                  <a:cubicBezTo>
                    <a:pt x="48" y="90"/>
                    <a:pt x="45" y="75"/>
                    <a:pt x="45" y="75"/>
                  </a:cubicBezTo>
                  <a:cubicBezTo>
                    <a:pt x="45" y="75"/>
                    <a:pt x="46" y="88"/>
                    <a:pt x="34" y="99"/>
                  </a:cubicBezTo>
                  <a:cubicBezTo>
                    <a:pt x="22" y="110"/>
                    <a:pt x="28" y="122"/>
                    <a:pt x="28" y="122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30" name="Group 12523">
            <a:extLst>
              <a:ext uri="{FF2B5EF4-FFF2-40B4-BE49-F238E27FC236}">
                <a16:creationId xmlns:a16="http://schemas.microsoft.com/office/drawing/2014/main" id="{6235CCD8-0B1E-4A19-B50B-9924A64BEB33}"/>
              </a:ext>
            </a:extLst>
          </p:cNvPr>
          <p:cNvGrpSpPr/>
          <p:nvPr userDrawn="1"/>
        </p:nvGrpSpPr>
        <p:grpSpPr>
          <a:xfrm>
            <a:off x="5263897" y="3611812"/>
            <a:ext cx="474134" cy="450162"/>
            <a:chOff x="5341938" y="4241800"/>
            <a:chExt cx="565150" cy="536576"/>
          </a:xfrm>
        </p:grpSpPr>
        <p:sp>
          <p:nvSpPr>
            <p:cNvPr id="231" name="Freeform 191">
              <a:extLst>
                <a:ext uri="{FF2B5EF4-FFF2-40B4-BE49-F238E27FC236}">
                  <a16:creationId xmlns:a16="http://schemas.microsoft.com/office/drawing/2014/main" id="{3485E49E-4CDB-4024-823C-77C19945E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6713" y="4503738"/>
              <a:ext cx="190500" cy="93663"/>
            </a:xfrm>
            <a:custGeom>
              <a:avLst/>
              <a:gdLst>
                <a:gd name="T0" fmla="*/ 49 w 51"/>
                <a:gd name="T1" fmla="*/ 0 h 25"/>
                <a:gd name="T2" fmla="*/ 0 w 51"/>
                <a:gd name="T3" fmla="*/ 20 h 25"/>
                <a:gd name="T4" fmla="*/ 2 w 51"/>
                <a:gd name="T5" fmla="*/ 25 h 25"/>
                <a:gd name="T6" fmla="*/ 51 w 51"/>
                <a:gd name="T7" fmla="*/ 4 h 25"/>
                <a:gd name="T8" fmla="*/ 49 w 51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25">
                  <a:moveTo>
                    <a:pt x="49" y="0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1" y="22"/>
                    <a:pt x="1" y="23"/>
                    <a:pt x="2" y="25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0" y="3"/>
                    <a:pt x="49" y="2"/>
                    <a:pt x="49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2" name="Freeform 192">
              <a:extLst>
                <a:ext uri="{FF2B5EF4-FFF2-40B4-BE49-F238E27FC236}">
                  <a16:creationId xmlns:a16="http://schemas.microsoft.com/office/drawing/2014/main" id="{840F0259-78C9-4E3E-953A-B521CAD1B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6263" y="4332288"/>
              <a:ext cx="22225" cy="115888"/>
            </a:xfrm>
            <a:custGeom>
              <a:avLst/>
              <a:gdLst>
                <a:gd name="T0" fmla="*/ 2 w 6"/>
                <a:gd name="T1" fmla="*/ 1 h 31"/>
                <a:gd name="T2" fmla="*/ 0 w 6"/>
                <a:gd name="T3" fmla="*/ 0 h 31"/>
                <a:gd name="T4" fmla="*/ 1 w 6"/>
                <a:gd name="T5" fmla="*/ 31 h 31"/>
                <a:gd name="T6" fmla="*/ 4 w 6"/>
                <a:gd name="T7" fmla="*/ 31 h 31"/>
                <a:gd name="T8" fmla="*/ 6 w 6"/>
                <a:gd name="T9" fmla="*/ 31 h 31"/>
                <a:gd name="T10" fmla="*/ 5 w 6"/>
                <a:gd name="T11" fmla="*/ 1 h 31"/>
                <a:gd name="T12" fmla="*/ 2 w 6"/>
                <a:gd name="T13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1">
                  <a:moveTo>
                    <a:pt x="2" y="1"/>
                  </a:moveTo>
                  <a:cubicBezTo>
                    <a:pt x="1" y="1"/>
                    <a:pt x="0" y="1"/>
                    <a:pt x="0" y="0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1"/>
                    <a:pt x="3" y="31"/>
                    <a:pt x="4" y="31"/>
                  </a:cubicBezTo>
                  <a:cubicBezTo>
                    <a:pt x="5" y="31"/>
                    <a:pt x="6" y="31"/>
                    <a:pt x="6" y="3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3" name="Freeform 193">
              <a:extLst>
                <a:ext uri="{FF2B5EF4-FFF2-40B4-BE49-F238E27FC236}">
                  <a16:creationId xmlns:a16="http://schemas.microsoft.com/office/drawing/2014/main" id="{9C416DD3-E548-4232-962D-DCA3DA663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388" y="4395788"/>
              <a:ext cx="128588" cy="77788"/>
            </a:xfrm>
            <a:custGeom>
              <a:avLst/>
              <a:gdLst>
                <a:gd name="T0" fmla="*/ 31 w 34"/>
                <a:gd name="T1" fmla="*/ 21 h 21"/>
                <a:gd name="T2" fmla="*/ 34 w 34"/>
                <a:gd name="T3" fmla="*/ 17 h 21"/>
                <a:gd name="T4" fmla="*/ 3 w 34"/>
                <a:gd name="T5" fmla="*/ 0 h 21"/>
                <a:gd name="T6" fmla="*/ 0 w 34"/>
                <a:gd name="T7" fmla="*/ 4 h 21"/>
                <a:gd name="T8" fmla="*/ 31 w 34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1">
                  <a:moveTo>
                    <a:pt x="31" y="21"/>
                  </a:moveTo>
                  <a:cubicBezTo>
                    <a:pt x="31" y="20"/>
                    <a:pt x="32" y="18"/>
                    <a:pt x="34" y="17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1" y="3"/>
                    <a:pt x="0" y="4"/>
                  </a:cubicBezTo>
                  <a:lnTo>
                    <a:pt x="31" y="21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4" name="Freeform 194">
              <a:extLst>
                <a:ext uri="{FF2B5EF4-FFF2-40B4-BE49-F238E27FC236}">
                  <a16:creationId xmlns:a16="http://schemas.microsoft.com/office/drawing/2014/main" id="{4CAF3D0E-E641-4EB7-AD76-C3151BC17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3413" y="4489450"/>
              <a:ext cx="96838" cy="44450"/>
            </a:xfrm>
            <a:custGeom>
              <a:avLst/>
              <a:gdLst>
                <a:gd name="T0" fmla="*/ 1 w 26"/>
                <a:gd name="T1" fmla="*/ 0 h 12"/>
                <a:gd name="T2" fmla="*/ 0 w 26"/>
                <a:gd name="T3" fmla="*/ 5 h 12"/>
                <a:gd name="T4" fmla="*/ 25 w 26"/>
                <a:gd name="T5" fmla="*/ 12 h 12"/>
                <a:gd name="T6" fmla="*/ 26 w 26"/>
                <a:gd name="T7" fmla="*/ 7 h 12"/>
                <a:gd name="T8" fmla="*/ 1 w 26"/>
                <a:gd name="T9" fmla="*/ 0 h 12"/>
                <a:gd name="T10" fmla="*/ 1 w 26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2">
                  <a:moveTo>
                    <a:pt x="1" y="0"/>
                  </a:moveTo>
                  <a:cubicBezTo>
                    <a:pt x="1" y="2"/>
                    <a:pt x="1" y="4"/>
                    <a:pt x="0" y="5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0"/>
                    <a:pt x="25" y="8"/>
                    <a:pt x="26" y="7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5" name="Freeform 195">
              <a:extLst>
                <a:ext uri="{FF2B5EF4-FFF2-40B4-BE49-F238E27FC236}">
                  <a16:creationId xmlns:a16="http://schemas.microsoft.com/office/drawing/2014/main" id="{FE706A07-9F35-43A0-9E3A-BB5C00484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75" y="4338638"/>
              <a:ext cx="201613" cy="139700"/>
            </a:xfrm>
            <a:custGeom>
              <a:avLst/>
              <a:gdLst>
                <a:gd name="T0" fmla="*/ 2 w 54"/>
                <a:gd name="T1" fmla="*/ 37 h 37"/>
                <a:gd name="T2" fmla="*/ 54 w 54"/>
                <a:gd name="T3" fmla="*/ 5 h 37"/>
                <a:gd name="T4" fmla="*/ 52 w 54"/>
                <a:gd name="T5" fmla="*/ 0 h 37"/>
                <a:gd name="T6" fmla="*/ 0 w 54"/>
                <a:gd name="T7" fmla="*/ 33 h 37"/>
                <a:gd name="T8" fmla="*/ 2 w 54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7">
                  <a:moveTo>
                    <a:pt x="2" y="37"/>
                  </a:moveTo>
                  <a:cubicBezTo>
                    <a:pt x="54" y="5"/>
                    <a:pt x="54" y="5"/>
                    <a:pt x="54" y="5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" y="34"/>
                    <a:pt x="2" y="35"/>
                    <a:pt x="2" y="37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6" name="Freeform 196">
              <a:extLst>
                <a:ext uri="{FF2B5EF4-FFF2-40B4-BE49-F238E27FC236}">
                  <a16:creationId xmlns:a16="http://schemas.microsoft.com/office/drawing/2014/main" id="{A64C9D1B-F599-4017-B255-D063DBB3C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1938" y="4241800"/>
              <a:ext cx="115888" cy="112713"/>
            </a:xfrm>
            <a:custGeom>
              <a:avLst/>
              <a:gdLst>
                <a:gd name="T0" fmla="*/ 31 w 31"/>
                <a:gd name="T1" fmla="*/ 27 h 30"/>
                <a:gd name="T2" fmla="*/ 4 w 31"/>
                <a:gd name="T3" fmla="*/ 0 h 30"/>
                <a:gd name="T4" fmla="*/ 0 w 31"/>
                <a:gd name="T5" fmla="*/ 4 h 30"/>
                <a:gd name="T6" fmla="*/ 28 w 31"/>
                <a:gd name="T7" fmla="*/ 30 h 30"/>
                <a:gd name="T8" fmla="*/ 31 w 31"/>
                <a:gd name="T9" fmla="*/ 2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0">
                  <a:moveTo>
                    <a:pt x="31" y="27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9" y="29"/>
                    <a:pt x="30" y="28"/>
                    <a:pt x="31" y="27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7" name="Freeform 197">
              <a:extLst>
                <a:ext uri="{FF2B5EF4-FFF2-40B4-BE49-F238E27FC236}">
                  <a16:creationId xmlns:a16="http://schemas.microsoft.com/office/drawing/2014/main" id="{6628FA12-407F-4A06-B43A-0171B28CC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75" y="4418013"/>
              <a:ext cx="63500" cy="149225"/>
            </a:xfrm>
            <a:custGeom>
              <a:avLst/>
              <a:gdLst>
                <a:gd name="T0" fmla="*/ 5 w 17"/>
                <a:gd name="T1" fmla="*/ 40 h 40"/>
                <a:gd name="T2" fmla="*/ 17 w 17"/>
                <a:gd name="T3" fmla="*/ 2 h 40"/>
                <a:gd name="T4" fmla="*/ 12 w 17"/>
                <a:gd name="T5" fmla="*/ 0 h 40"/>
                <a:gd name="T6" fmla="*/ 0 w 17"/>
                <a:gd name="T7" fmla="*/ 39 h 40"/>
                <a:gd name="T8" fmla="*/ 5 w 17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0">
                  <a:moveTo>
                    <a:pt x="5" y="40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5" y="1"/>
                    <a:pt x="13" y="1"/>
                    <a:pt x="12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" y="39"/>
                    <a:pt x="4" y="39"/>
                    <a:pt x="5" y="4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8" name="Freeform 198">
              <a:extLst>
                <a:ext uri="{FF2B5EF4-FFF2-40B4-BE49-F238E27FC236}">
                  <a16:creationId xmlns:a16="http://schemas.microsoft.com/office/drawing/2014/main" id="{F2138764-975C-405C-B20B-CF2F94123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150" y="4560888"/>
              <a:ext cx="57150" cy="63500"/>
            </a:xfrm>
            <a:custGeom>
              <a:avLst/>
              <a:gdLst>
                <a:gd name="T0" fmla="*/ 12 w 15"/>
                <a:gd name="T1" fmla="*/ 0 h 17"/>
                <a:gd name="T2" fmla="*/ 0 w 15"/>
                <a:gd name="T3" fmla="*/ 14 h 17"/>
                <a:gd name="T4" fmla="*/ 4 w 15"/>
                <a:gd name="T5" fmla="*/ 17 h 17"/>
                <a:gd name="T6" fmla="*/ 15 w 15"/>
                <a:gd name="T7" fmla="*/ 3 h 17"/>
                <a:gd name="T8" fmla="*/ 12 w 1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7">
                  <a:moveTo>
                    <a:pt x="12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1" y="15"/>
                    <a:pt x="3" y="16"/>
                    <a:pt x="4" y="17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3"/>
                    <a:pt x="13" y="2"/>
                    <a:pt x="12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39" name="Freeform 199">
              <a:extLst>
                <a:ext uri="{FF2B5EF4-FFF2-40B4-BE49-F238E27FC236}">
                  <a16:creationId xmlns:a16="http://schemas.microsoft.com/office/drawing/2014/main" id="{EC589FBF-9BC6-436F-970B-02EF17D58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2925" y="4646613"/>
              <a:ext cx="85725" cy="26988"/>
            </a:xfrm>
            <a:custGeom>
              <a:avLst/>
              <a:gdLst>
                <a:gd name="T0" fmla="*/ 23 w 23"/>
                <a:gd name="T1" fmla="*/ 5 h 7"/>
                <a:gd name="T2" fmla="*/ 23 w 23"/>
                <a:gd name="T3" fmla="*/ 2 h 7"/>
                <a:gd name="T4" fmla="*/ 23 w 23"/>
                <a:gd name="T5" fmla="*/ 0 h 7"/>
                <a:gd name="T6" fmla="*/ 0 w 23"/>
                <a:gd name="T7" fmla="*/ 3 h 7"/>
                <a:gd name="T8" fmla="*/ 1 w 23"/>
                <a:gd name="T9" fmla="*/ 6 h 7"/>
                <a:gd name="T10" fmla="*/ 1 w 23"/>
                <a:gd name="T11" fmla="*/ 7 h 7"/>
                <a:gd name="T12" fmla="*/ 23 w 23"/>
                <a:gd name="T1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7">
                  <a:moveTo>
                    <a:pt x="23" y="5"/>
                  </a:moveTo>
                  <a:cubicBezTo>
                    <a:pt x="23" y="4"/>
                    <a:pt x="23" y="3"/>
                    <a:pt x="23" y="2"/>
                  </a:cubicBezTo>
                  <a:cubicBezTo>
                    <a:pt x="23" y="1"/>
                    <a:pt x="23" y="1"/>
                    <a:pt x="23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7"/>
                    <a:pt x="1" y="7"/>
                  </a:cubicBezTo>
                  <a:lnTo>
                    <a:pt x="23" y="5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0" name="Freeform 200">
              <a:extLst>
                <a:ext uri="{FF2B5EF4-FFF2-40B4-BE49-F238E27FC236}">
                  <a16:creationId xmlns:a16="http://schemas.microsoft.com/office/drawing/2014/main" id="{C7321BE4-86F8-47D5-B593-92C7D4C9B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6713" y="4616450"/>
              <a:ext cx="93663" cy="49213"/>
            </a:xfrm>
            <a:custGeom>
              <a:avLst/>
              <a:gdLst>
                <a:gd name="T0" fmla="*/ 25 w 25"/>
                <a:gd name="T1" fmla="*/ 8 h 13"/>
                <a:gd name="T2" fmla="*/ 2 w 25"/>
                <a:gd name="T3" fmla="*/ 0 h 13"/>
                <a:gd name="T4" fmla="*/ 0 w 25"/>
                <a:gd name="T5" fmla="*/ 5 h 13"/>
                <a:gd name="T6" fmla="*/ 24 w 25"/>
                <a:gd name="T7" fmla="*/ 13 h 13"/>
                <a:gd name="T8" fmla="*/ 25 w 25"/>
                <a:gd name="T9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3">
                  <a:moveTo>
                    <a:pt x="25" y="8"/>
                  </a:moveTo>
                  <a:cubicBezTo>
                    <a:pt x="18" y="6"/>
                    <a:pt x="8" y="2"/>
                    <a:pt x="2" y="0"/>
                  </a:cubicBezTo>
                  <a:cubicBezTo>
                    <a:pt x="2" y="2"/>
                    <a:pt x="1" y="3"/>
                    <a:pt x="0" y="5"/>
                  </a:cubicBezTo>
                  <a:cubicBezTo>
                    <a:pt x="6" y="7"/>
                    <a:pt x="16" y="10"/>
                    <a:pt x="24" y="13"/>
                  </a:cubicBezTo>
                  <a:cubicBezTo>
                    <a:pt x="24" y="11"/>
                    <a:pt x="25" y="10"/>
                    <a:pt x="25" y="8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1" name="Oval 201">
              <a:extLst>
                <a:ext uri="{FF2B5EF4-FFF2-40B4-BE49-F238E27FC236}">
                  <a16:creationId xmlns:a16="http://schemas.microsoft.com/office/drawing/2014/main" id="{3F4207A1-B4DE-4867-8DA8-FC2F7BE8CF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26100" y="4249738"/>
              <a:ext cx="79375" cy="77788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2" name="Freeform 202">
              <a:extLst>
                <a:ext uri="{FF2B5EF4-FFF2-40B4-BE49-F238E27FC236}">
                  <a16:creationId xmlns:a16="http://schemas.microsoft.com/office/drawing/2014/main" id="{1D119360-3B83-430E-A41E-443DDA8B9D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4500" y="4310063"/>
              <a:ext cx="95250" cy="52388"/>
            </a:xfrm>
            <a:custGeom>
              <a:avLst/>
              <a:gdLst>
                <a:gd name="T0" fmla="*/ 0 w 60"/>
                <a:gd name="T1" fmla="*/ 33 h 33"/>
                <a:gd name="T2" fmla="*/ 60 w 60"/>
                <a:gd name="T3" fmla="*/ 0 h 33"/>
                <a:gd name="T4" fmla="*/ 0 w 60"/>
                <a:gd name="T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0" h="33">
                  <a:moveTo>
                    <a:pt x="0" y="33"/>
                  </a:moveTo>
                  <a:lnTo>
                    <a:pt x="60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3" name="Line 203">
              <a:extLst>
                <a:ext uri="{FF2B5EF4-FFF2-40B4-BE49-F238E27FC236}">
                  <a16:creationId xmlns:a16="http://schemas.microsoft.com/office/drawing/2014/main" id="{389F0E02-193D-41CD-A955-C926C9B5D5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24500" y="4310063"/>
              <a:ext cx="95250" cy="52388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4" name="Freeform 204">
              <a:extLst>
                <a:ext uri="{FF2B5EF4-FFF2-40B4-BE49-F238E27FC236}">
                  <a16:creationId xmlns:a16="http://schemas.microsoft.com/office/drawing/2014/main" id="{F636EEF6-233E-49E8-8F35-09FEF9BE2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1325" y="4302125"/>
              <a:ext cx="101600" cy="66675"/>
            </a:xfrm>
            <a:custGeom>
              <a:avLst/>
              <a:gdLst>
                <a:gd name="T0" fmla="*/ 5 w 64"/>
                <a:gd name="T1" fmla="*/ 42 h 42"/>
                <a:gd name="T2" fmla="*/ 0 w 64"/>
                <a:gd name="T3" fmla="*/ 30 h 42"/>
                <a:gd name="T4" fmla="*/ 59 w 64"/>
                <a:gd name="T5" fmla="*/ 0 h 42"/>
                <a:gd name="T6" fmla="*/ 64 w 64"/>
                <a:gd name="T7" fmla="*/ 9 h 42"/>
                <a:gd name="T8" fmla="*/ 5 w 64"/>
                <a:gd name="T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42">
                  <a:moveTo>
                    <a:pt x="5" y="42"/>
                  </a:moveTo>
                  <a:lnTo>
                    <a:pt x="0" y="30"/>
                  </a:lnTo>
                  <a:lnTo>
                    <a:pt x="59" y="0"/>
                  </a:lnTo>
                  <a:lnTo>
                    <a:pt x="64" y="9"/>
                  </a:lnTo>
                  <a:lnTo>
                    <a:pt x="5" y="42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5" name="Oval 205">
              <a:extLst>
                <a:ext uri="{FF2B5EF4-FFF2-40B4-BE49-F238E27FC236}">
                  <a16:creationId xmlns:a16="http://schemas.microsoft.com/office/drawing/2014/main" id="{82E6F567-E569-4458-A1EA-1BFA14A32F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3538" y="4338638"/>
              <a:ext cx="77788" cy="82550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6" name="Oval 207">
              <a:extLst>
                <a:ext uri="{FF2B5EF4-FFF2-40B4-BE49-F238E27FC236}">
                  <a16:creationId xmlns:a16="http://schemas.microsoft.com/office/drawing/2014/main" id="{0CB3CF78-28BA-45E1-9CF3-D663159BF8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34038" y="4451350"/>
              <a:ext cx="79375" cy="79375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7" name="Oval 208">
              <a:extLst>
                <a:ext uri="{FF2B5EF4-FFF2-40B4-BE49-F238E27FC236}">
                  <a16:creationId xmlns:a16="http://schemas.microsoft.com/office/drawing/2014/main" id="{49AB2082-679A-4721-8C61-5F9746196C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10250" y="4492625"/>
              <a:ext cx="79375" cy="79375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8" name="Oval 209">
              <a:extLst>
                <a:ext uri="{FF2B5EF4-FFF2-40B4-BE49-F238E27FC236}">
                  <a16:creationId xmlns:a16="http://schemas.microsoft.com/office/drawing/2014/main" id="{667D5A47-6BEF-4B3D-94D8-2B08EF8E5B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3413" y="4613275"/>
              <a:ext cx="77788" cy="77788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49" name="Oval 210">
              <a:extLst>
                <a:ext uri="{FF2B5EF4-FFF2-40B4-BE49-F238E27FC236}">
                  <a16:creationId xmlns:a16="http://schemas.microsoft.com/office/drawing/2014/main" id="{755B64B1-4E79-4034-9E6B-CA2DEF7B63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0375" y="4632325"/>
              <a:ext cx="79375" cy="77788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0" name="Oval 211">
              <a:extLst>
                <a:ext uri="{FF2B5EF4-FFF2-40B4-BE49-F238E27FC236}">
                  <a16:creationId xmlns:a16="http://schemas.microsoft.com/office/drawing/2014/main" id="{9FED5E91-9380-4C02-B6BB-A40BFC639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2100" y="4567238"/>
              <a:ext cx="77788" cy="79375"/>
            </a:xfrm>
            <a:prstGeom prst="ellipse">
              <a:avLst/>
            </a:pr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1" name="Freeform 212">
              <a:extLst>
                <a:ext uri="{FF2B5EF4-FFF2-40B4-BE49-F238E27FC236}">
                  <a16:creationId xmlns:a16="http://schemas.microsoft.com/office/drawing/2014/main" id="{1F2DC709-2171-40B6-951A-0B481FCA0A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9925" y="4703763"/>
              <a:ext cx="0" cy="74613"/>
            </a:xfrm>
            <a:custGeom>
              <a:avLst/>
              <a:gdLst>
                <a:gd name="T0" fmla="*/ 0 h 47"/>
                <a:gd name="T1" fmla="*/ 47 h 47"/>
                <a:gd name="T2" fmla="*/ 0 h 4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7">
                  <a:moveTo>
                    <a:pt x="0" y="0"/>
                  </a:move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2" name="Line 213">
              <a:extLst>
                <a:ext uri="{FF2B5EF4-FFF2-40B4-BE49-F238E27FC236}">
                  <a16:creationId xmlns:a16="http://schemas.microsoft.com/office/drawing/2014/main" id="{CCB27D71-2346-42BA-B6E0-FD3D76E964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9925" y="4703763"/>
              <a:ext cx="0" cy="74613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3" name="Freeform 214">
              <a:extLst>
                <a:ext uri="{FF2B5EF4-FFF2-40B4-BE49-F238E27FC236}">
                  <a16:creationId xmlns:a16="http://schemas.microsoft.com/office/drawing/2014/main" id="{966469BD-3917-4433-9139-EAF38EDCF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1988" y="4695825"/>
              <a:ext cx="19050" cy="82550"/>
            </a:xfrm>
            <a:custGeom>
              <a:avLst/>
              <a:gdLst>
                <a:gd name="T0" fmla="*/ 2 w 5"/>
                <a:gd name="T1" fmla="*/ 0 h 22"/>
                <a:gd name="T2" fmla="*/ 0 w 5"/>
                <a:gd name="T3" fmla="*/ 0 h 22"/>
                <a:gd name="T4" fmla="*/ 0 w 5"/>
                <a:gd name="T5" fmla="*/ 22 h 22"/>
                <a:gd name="T6" fmla="*/ 5 w 5"/>
                <a:gd name="T7" fmla="*/ 22 h 22"/>
                <a:gd name="T8" fmla="*/ 5 w 5"/>
                <a:gd name="T9" fmla="*/ 0 h 22"/>
                <a:gd name="T10" fmla="*/ 2 w 5"/>
                <a:gd name="T11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2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D307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54" name="Titre 1">
            <a:extLst>
              <a:ext uri="{FF2B5EF4-FFF2-40B4-BE49-F238E27FC236}">
                <a16:creationId xmlns:a16="http://schemas.microsoft.com/office/drawing/2014/main" id="{4B67B401-26A4-47B5-B0E0-B1B9FB646BFB}"/>
              </a:ext>
            </a:extLst>
          </p:cNvPr>
          <p:cNvSpPr txBox="1">
            <a:spLocks/>
          </p:cNvSpPr>
          <p:nvPr userDrawn="1"/>
        </p:nvSpPr>
        <p:spPr>
          <a:xfrm>
            <a:off x="674914" y="389762"/>
            <a:ext cx="7783286" cy="45783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1"/>
                </a:solidFill>
                <a:latin typeface="Delivery" panose="020F0503020204020204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Les pictogrammes</a:t>
            </a:r>
          </a:p>
        </p:txBody>
      </p:sp>
    </p:spTree>
    <p:extLst>
      <p:ext uri="{BB962C8B-B14F-4D97-AF65-F5344CB8AC3E}">
        <p14:creationId xmlns:p14="http://schemas.microsoft.com/office/powerpoint/2010/main" val="3338887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PICTOGRAMM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que 5">
            <a:extLst>
              <a:ext uri="{FF2B5EF4-FFF2-40B4-BE49-F238E27FC236}">
                <a16:creationId xmlns:a16="http://schemas.microsoft.com/office/drawing/2014/main" id="{8BC1AE24-0887-4DF1-BB8D-6ADA9B7469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2432" y="1930308"/>
            <a:ext cx="508249" cy="508249"/>
          </a:xfrm>
          <a:prstGeom prst="rect">
            <a:avLst/>
          </a:prstGeom>
        </p:spPr>
      </p:pic>
      <p:pic>
        <p:nvPicPr>
          <p:cNvPr id="4" name="Graphique 3">
            <a:extLst>
              <a:ext uri="{FF2B5EF4-FFF2-40B4-BE49-F238E27FC236}">
                <a16:creationId xmlns:a16="http://schemas.microsoft.com/office/drawing/2014/main" id="{1820D6F9-F028-4AD4-934C-8C733FC4D8A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46974" y="1874226"/>
            <a:ext cx="614875" cy="614875"/>
          </a:xfrm>
          <a:prstGeom prst="rect">
            <a:avLst/>
          </a:prstGeom>
        </p:spPr>
      </p:pic>
      <p:pic>
        <p:nvPicPr>
          <p:cNvPr id="258" name="Graphique 257">
            <a:extLst>
              <a:ext uri="{FF2B5EF4-FFF2-40B4-BE49-F238E27FC236}">
                <a16:creationId xmlns:a16="http://schemas.microsoft.com/office/drawing/2014/main" id="{7C31E7CF-3853-40D3-987E-097C974344B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11550" y="1141995"/>
            <a:ext cx="531867" cy="531867"/>
          </a:xfrm>
          <a:prstGeom prst="rect">
            <a:avLst/>
          </a:prstGeom>
        </p:spPr>
      </p:pic>
      <p:pic>
        <p:nvPicPr>
          <p:cNvPr id="263" name="Graphique 262">
            <a:extLst>
              <a:ext uri="{FF2B5EF4-FFF2-40B4-BE49-F238E27FC236}">
                <a16:creationId xmlns:a16="http://schemas.microsoft.com/office/drawing/2014/main" id="{C7F13E8B-F96B-4564-920C-9ACEFE48487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02263" y="1183074"/>
            <a:ext cx="535917" cy="441343"/>
          </a:xfrm>
          <a:prstGeom prst="rect">
            <a:avLst/>
          </a:prstGeom>
        </p:spPr>
      </p:pic>
      <p:pic>
        <p:nvPicPr>
          <p:cNvPr id="261" name="Graphique 260">
            <a:extLst>
              <a:ext uri="{FF2B5EF4-FFF2-40B4-BE49-F238E27FC236}">
                <a16:creationId xmlns:a16="http://schemas.microsoft.com/office/drawing/2014/main" id="{9FAEEAF4-7F3F-4458-94A3-9EC941C4E01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37606" y="1144691"/>
            <a:ext cx="466988" cy="466988"/>
          </a:xfrm>
          <a:prstGeom prst="rect">
            <a:avLst/>
          </a:prstGeom>
        </p:spPr>
      </p:pic>
      <p:pic>
        <p:nvPicPr>
          <p:cNvPr id="255" name="Graphique 254">
            <a:extLst>
              <a:ext uri="{FF2B5EF4-FFF2-40B4-BE49-F238E27FC236}">
                <a16:creationId xmlns:a16="http://schemas.microsoft.com/office/drawing/2014/main" id="{6C8A71C3-4C57-4EAC-8182-CDAED7B1770A}"/>
              </a:ext>
            </a:extLst>
          </p:cNvPr>
          <p:cNvPicPr preferRelativeResize="0">
            <a:picLocks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634195" y="1195428"/>
            <a:ext cx="366583" cy="397139"/>
          </a:xfrm>
          <a:prstGeom prst="rect">
            <a:avLst/>
          </a:prstGeom>
        </p:spPr>
      </p:pic>
      <p:pic>
        <p:nvPicPr>
          <p:cNvPr id="254" name="Graphique 253">
            <a:extLst>
              <a:ext uri="{FF2B5EF4-FFF2-40B4-BE49-F238E27FC236}">
                <a16:creationId xmlns:a16="http://schemas.microsoft.com/office/drawing/2014/main" id="{BDA40EBF-59CC-40EA-85E5-D4E0298BC35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69915" y="1152776"/>
            <a:ext cx="426986" cy="442800"/>
          </a:xfrm>
          <a:prstGeom prst="rect">
            <a:avLst/>
          </a:prstGeom>
        </p:spPr>
      </p:pic>
      <p:pic>
        <p:nvPicPr>
          <p:cNvPr id="256" name="Graphique 255">
            <a:extLst>
              <a:ext uri="{FF2B5EF4-FFF2-40B4-BE49-F238E27FC236}">
                <a16:creationId xmlns:a16="http://schemas.microsoft.com/office/drawing/2014/main" id="{358F0C36-DFCC-4680-9033-12A827B9C229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529192" y="1194879"/>
            <a:ext cx="410737" cy="430294"/>
          </a:xfrm>
          <a:prstGeom prst="rect">
            <a:avLst/>
          </a:prstGeom>
        </p:spPr>
      </p:pic>
      <p:pic>
        <p:nvPicPr>
          <p:cNvPr id="259" name="Graphique 258">
            <a:extLst>
              <a:ext uri="{FF2B5EF4-FFF2-40B4-BE49-F238E27FC236}">
                <a16:creationId xmlns:a16="http://schemas.microsoft.com/office/drawing/2014/main" id="{7389080B-2C6E-401F-8F11-71F19D0A920B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423980" y="1215211"/>
            <a:ext cx="460864" cy="377070"/>
          </a:xfrm>
          <a:prstGeom prst="rect">
            <a:avLst/>
          </a:prstGeom>
        </p:spPr>
      </p:pic>
      <p:pic>
        <p:nvPicPr>
          <p:cNvPr id="260" name="Graphique 259">
            <a:extLst>
              <a:ext uri="{FF2B5EF4-FFF2-40B4-BE49-F238E27FC236}">
                <a16:creationId xmlns:a16="http://schemas.microsoft.com/office/drawing/2014/main" id="{2013297C-78DE-440F-919D-F8ED71C67065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29135" y="1206173"/>
            <a:ext cx="292249" cy="409147"/>
          </a:xfrm>
          <a:prstGeom prst="rect">
            <a:avLst/>
          </a:prstGeom>
        </p:spPr>
      </p:pic>
      <p:pic>
        <p:nvPicPr>
          <p:cNvPr id="262" name="Graphique 261">
            <a:extLst>
              <a:ext uri="{FF2B5EF4-FFF2-40B4-BE49-F238E27FC236}">
                <a16:creationId xmlns:a16="http://schemas.microsoft.com/office/drawing/2014/main" id="{3C265EA8-22B4-4DD8-802C-A65BD80BD666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141364" y="1199844"/>
            <a:ext cx="579553" cy="375005"/>
          </a:xfrm>
          <a:prstGeom prst="rect">
            <a:avLst/>
          </a:prstGeom>
        </p:spPr>
      </p:pic>
      <p:sp>
        <p:nvSpPr>
          <p:cNvPr id="257" name="Titre 1">
            <a:extLst>
              <a:ext uri="{FF2B5EF4-FFF2-40B4-BE49-F238E27FC236}">
                <a16:creationId xmlns:a16="http://schemas.microsoft.com/office/drawing/2014/main" id="{225880EB-8551-48E8-88DC-F303B7EF7EB0}"/>
              </a:ext>
            </a:extLst>
          </p:cNvPr>
          <p:cNvSpPr txBox="1">
            <a:spLocks/>
          </p:cNvSpPr>
          <p:nvPr userDrawn="1"/>
        </p:nvSpPr>
        <p:spPr>
          <a:xfrm>
            <a:off x="674914" y="389762"/>
            <a:ext cx="7783286" cy="457834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1" kern="1200">
                <a:solidFill>
                  <a:schemeClr val="tx1"/>
                </a:solidFill>
                <a:latin typeface="Delivery" panose="020F0503020204020204" pitchFamily="34" charset="0"/>
                <a:ea typeface="+mj-ea"/>
                <a:cs typeface="+mj-cs"/>
              </a:defRPr>
            </a:lvl1pPr>
          </a:lstStyle>
          <a:p>
            <a:r>
              <a:rPr lang="fr-FR"/>
              <a:t>Les pictogrammes</a:t>
            </a:r>
          </a:p>
        </p:txBody>
      </p:sp>
      <p:pic>
        <p:nvPicPr>
          <p:cNvPr id="265" name="Graphique 264">
            <a:extLst>
              <a:ext uri="{FF2B5EF4-FFF2-40B4-BE49-F238E27FC236}">
                <a16:creationId xmlns:a16="http://schemas.microsoft.com/office/drawing/2014/main" id="{6451249F-04C8-4E16-8A81-421FC8106B1B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76222" y="1974975"/>
            <a:ext cx="261081" cy="413378"/>
          </a:xfrm>
          <a:prstGeom prst="rect">
            <a:avLst/>
          </a:prstGeom>
        </p:spPr>
      </p:pic>
      <p:pic>
        <p:nvPicPr>
          <p:cNvPr id="266" name="Graphique 265">
            <a:extLst>
              <a:ext uri="{FF2B5EF4-FFF2-40B4-BE49-F238E27FC236}">
                <a16:creationId xmlns:a16="http://schemas.microsoft.com/office/drawing/2014/main" id="{FB3D941F-2DDB-4F0D-93C5-A5900954BFCC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2494877" y="1908005"/>
            <a:ext cx="478319" cy="491984"/>
          </a:xfrm>
          <a:prstGeom prst="rect">
            <a:avLst/>
          </a:prstGeom>
        </p:spPr>
      </p:pic>
      <p:pic>
        <p:nvPicPr>
          <p:cNvPr id="267" name="Graphique 266">
            <a:extLst>
              <a:ext uri="{FF2B5EF4-FFF2-40B4-BE49-F238E27FC236}">
                <a16:creationId xmlns:a16="http://schemas.microsoft.com/office/drawing/2014/main" id="{42D78B19-94F2-479F-A475-7ED4A06B99A7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574830" y="1930308"/>
            <a:ext cx="472943" cy="447379"/>
          </a:xfrm>
          <a:prstGeom prst="rect">
            <a:avLst/>
          </a:prstGeom>
        </p:spPr>
      </p:pic>
      <p:pic>
        <p:nvPicPr>
          <p:cNvPr id="268" name="Graphique 267">
            <a:extLst>
              <a:ext uri="{FF2B5EF4-FFF2-40B4-BE49-F238E27FC236}">
                <a16:creationId xmlns:a16="http://schemas.microsoft.com/office/drawing/2014/main" id="{8B1C2123-3246-498A-8DB8-A1C1E25D84FA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3426751" y="2860668"/>
            <a:ext cx="532800" cy="532800"/>
          </a:xfrm>
          <a:prstGeom prst="rect">
            <a:avLst/>
          </a:prstGeom>
        </p:spPr>
      </p:pic>
      <p:pic>
        <p:nvPicPr>
          <p:cNvPr id="269" name="Graphique 268">
            <a:extLst>
              <a:ext uri="{FF2B5EF4-FFF2-40B4-BE49-F238E27FC236}">
                <a16:creationId xmlns:a16="http://schemas.microsoft.com/office/drawing/2014/main" id="{B9E41538-BE91-46DF-9927-9A1A1B6F32AA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453366" y="2877195"/>
            <a:ext cx="561343" cy="532800"/>
          </a:xfrm>
          <a:prstGeom prst="rect">
            <a:avLst/>
          </a:prstGeom>
        </p:spPr>
      </p:pic>
      <p:pic>
        <p:nvPicPr>
          <p:cNvPr id="270" name="Graphique 269">
            <a:extLst>
              <a:ext uri="{FF2B5EF4-FFF2-40B4-BE49-F238E27FC236}">
                <a16:creationId xmlns:a16="http://schemas.microsoft.com/office/drawing/2014/main" id="{CF545D4F-CEFA-4892-8774-195A66EB859B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574830" y="2900444"/>
            <a:ext cx="561343" cy="532800"/>
          </a:xfrm>
          <a:prstGeom prst="rect">
            <a:avLst/>
          </a:prstGeom>
        </p:spPr>
      </p:pic>
      <p:pic>
        <p:nvPicPr>
          <p:cNvPr id="271" name="Graphique 270">
            <a:extLst>
              <a:ext uri="{FF2B5EF4-FFF2-40B4-BE49-F238E27FC236}">
                <a16:creationId xmlns:a16="http://schemas.microsoft.com/office/drawing/2014/main" id="{CA401DC3-4D53-4995-B1A1-F0EACD70550A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675004" y="2876595"/>
            <a:ext cx="533400" cy="533400"/>
          </a:xfrm>
          <a:prstGeom prst="rect">
            <a:avLst/>
          </a:prstGeom>
        </p:spPr>
      </p:pic>
      <p:pic>
        <p:nvPicPr>
          <p:cNvPr id="272" name="Graphique 271">
            <a:extLst>
              <a:ext uri="{FF2B5EF4-FFF2-40B4-BE49-F238E27FC236}">
                <a16:creationId xmlns:a16="http://schemas.microsoft.com/office/drawing/2014/main" id="{2C153D6E-9E86-436F-A00F-770222F24E21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6209979" y="2863203"/>
            <a:ext cx="532800" cy="532800"/>
          </a:xfrm>
          <a:prstGeom prst="rect">
            <a:avLst/>
          </a:prstGeom>
        </p:spPr>
      </p:pic>
      <p:pic>
        <p:nvPicPr>
          <p:cNvPr id="273" name="Graphique 272">
            <a:extLst>
              <a:ext uri="{FF2B5EF4-FFF2-40B4-BE49-F238E27FC236}">
                <a16:creationId xmlns:a16="http://schemas.microsoft.com/office/drawing/2014/main" id="{54C450FF-5BCF-4A6C-A2AA-19AAE7B034C1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4360080" y="2877195"/>
            <a:ext cx="532800" cy="532800"/>
          </a:xfrm>
          <a:prstGeom prst="rect">
            <a:avLst/>
          </a:prstGeom>
        </p:spPr>
      </p:pic>
      <p:pic>
        <p:nvPicPr>
          <p:cNvPr id="274" name="Graphique 273">
            <a:extLst>
              <a:ext uri="{FF2B5EF4-FFF2-40B4-BE49-F238E27FC236}">
                <a16:creationId xmlns:a16="http://schemas.microsoft.com/office/drawing/2014/main" id="{77C45C40-480D-4108-835A-A2675ABE0282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5308010" y="2823863"/>
            <a:ext cx="532800" cy="532800"/>
          </a:xfrm>
          <a:prstGeom prst="rect">
            <a:avLst/>
          </a:prstGeom>
        </p:spPr>
      </p:pic>
      <p:grpSp>
        <p:nvGrpSpPr>
          <p:cNvPr id="275" name="Groupe 274">
            <a:extLst>
              <a:ext uri="{FF2B5EF4-FFF2-40B4-BE49-F238E27FC236}">
                <a16:creationId xmlns:a16="http://schemas.microsoft.com/office/drawing/2014/main" id="{0D8861AF-CE97-44D5-B520-12B778B382AC}"/>
              </a:ext>
            </a:extLst>
          </p:cNvPr>
          <p:cNvGrpSpPr/>
          <p:nvPr userDrawn="1"/>
        </p:nvGrpSpPr>
        <p:grpSpPr>
          <a:xfrm>
            <a:off x="7052102" y="2854931"/>
            <a:ext cx="532800" cy="532800"/>
            <a:chOff x="3313934" y="-774778"/>
            <a:chExt cx="532800" cy="532800"/>
          </a:xfrm>
        </p:grpSpPr>
        <p:sp>
          <p:nvSpPr>
            <p:cNvPr id="276" name="Ellipse 275">
              <a:extLst>
                <a:ext uri="{FF2B5EF4-FFF2-40B4-BE49-F238E27FC236}">
                  <a16:creationId xmlns:a16="http://schemas.microsoft.com/office/drawing/2014/main" id="{4AEE6537-389E-4E53-8B52-F460BD226373}"/>
                </a:ext>
              </a:extLst>
            </p:cNvPr>
            <p:cNvSpPr/>
            <p:nvPr/>
          </p:nvSpPr>
          <p:spPr>
            <a:xfrm>
              <a:off x="3313934" y="-774778"/>
              <a:ext cx="532800" cy="532800"/>
            </a:xfrm>
            <a:prstGeom prst="ellipse">
              <a:avLst/>
            </a:prstGeom>
            <a:solidFill>
              <a:srgbClr val="D405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77" name="Freeform 109">
              <a:extLst>
                <a:ext uri="{FF2B5EF4-FFF2-40B4-BE49-F238E27FC236}">
                  <a16:creationId xmlns:a16="http://schemas.microsoft.com/office/drawing/2014/main" id="{1F8DA62A-48F9-4E65-BD7F-A340B64D39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06144" y="-675243"/>
              <a:ext cx="347089" cy="344203"/>
            </a:xfrm>
            <a:custGeom>
              <a:avLst/>
              <a:gdLst>
                <a:gd name="T0" fmla="*/ 0 w 137"/>
                <a:gd name="T1" fmla="*/ 69 h 137"/>
                <a:gd name="T2" fmla="*/ 137 w 137"/>
                <a:gd name="T3" fmla="*/ 69 h 137"/>
                <a:gd name="T4" fmla="*/ 104 w 137"/>
                <a:gd name="T5" fmla="*/ 65 h 137"/>
                <a:gd name="T6" fmla="*/ 121 w 137"/>
                <a:gd name="T7" fmla="*/ 38 h 137"/>
                <a:gd name="T8" fmla="*/ 104 w 137"/>
                <a:gd name="T9" fmla="*/ 65 h 137"/>
                <a:gd name="T10" fmla="*/ 121 w 137"/>
                <a:gd name="T11" fmla="*/ 100 h 137"/>
                <a:gd name="T12" fmla="*/ 104 w 137"/>
                <a:gd name="T13" fmla="*/ 72 h 137"/>
                <a:gd name="T14" fmla="*/ 118 w 137"/>
                <a:gd name="T15" fmla="*/ 33 h 137"/>
                <a:gd name="T16" fmla="*/ 89 w 137"/>
                <a:gd name="T17" fmla="*/ 11 h 137"/>
                <a:gd name="T18" fmla="*/ 72 w 137"/>
                <a:gd name="T19" fmla="*/ 40 h 137"/>
                <a:gd name="T20" fmla="*/ 82 w 137"/>
                <a:gd name="T21" fmla="*/ 14 h 137"/>
                <a:gd name="T22" fmla="*/ 72 w 137"/>
                <a:gd name="T23" fmla="*/ 40 h 137"/>
                <a:gd name="T24" fmla="*/ 98 w 137"/>
                <a:gd name="T25" fmla="*/ 65 h 137"/>
                <a:gd name="T26" fmla="*/ 72 w 137"/>
                <a:gd name="T27" fmla="*/ 46 h 137"/>
                <a:gd name="T28" fmla="*/ 65 w 137"/>
                <a:gd name="T29" fmla="*/ 16 h 137"/>
                <a:gd name="T30" fmla="*/ 44 w 137"/>
                <a:gd name="T31" fmla="*/ 38 h 137"/>
                <a:gd name="T32" fmla="*/ 65 w 137"/>
                <a:gd name="T33" fmla="*/ 16 h 137"/>
                <a:gd name="T34" fmla="*/ 65 w 137"/>
                <a:gd name="T35" fmla="*/ 46 h 137"/>
                <a:gd name="T36" fmla="*/ 40 w 137"/>
                <a:gd name="T37" fmla="*/ 65 h 137"/>
                <a:gd name="T38" fmla="*/ 65 w 137"/>
                <a:gd name="T39" fmla="*/ 92 h 137"/>
                <a:gd name="T40" fmla="*/ 40 w 137"/>
                <a:gd name="T41" fmla="*/ 72 h 137"/>
                <a:gd name="T42" fmla="*/ 65 w 137"/>
                <a:gd name="T43" fmla="*/ 98 h 137"/>
                <a:gd name="T44" fmla="*/ 55 w 137"/>
                <a:gd name="T45" fmla="*/ 124 h 137"/>
                <a:gd name="T46" fmla="*/ 65 w 137"/>
                <a:gd name="T47" fmla="*/ 98 h 137"/>
                <a:gd name="T48" fmla="*/ 72 w 137"/>
                <a:gd name="T49" fmla="*/ 98 h 137"/>
                <a:gd name="T50" fmla="*/ 83 w 137"/>
                <a:gd name="T51" fmla="*/ 124 h 137"/>
                <a:gd name="T52" fmla="*/ 72 w 137"/>
                <a:gd name="T53" fmla="*/ 92 h 137"/>
                <a:gd name="T54" fmla="*/ 98 w 137"/>
                <a:gd name="T55" fmla="*/ 72 h 137"/>
                <a:gd name="T56" fmla="*/ 72 w 137"/>
                <a:gd name="T57" fmla="*/ 92 h 137"/>
                <a:gd name="T58" fmla="*/ 37 w 137"/>
                <a:gd name="T59" fmla="*/ 37 h 137"/>
                <a:gd name="T60" fmla="*/ 48 w 137"/>
                <a:gd name="T61" fmla="*/ 12 h 137"/>
                <a:gd name="T62" fmla="*/ 36 w 137"/>
                <a:gd name="T63" fmla="*/ 95 h 137"/>
                <a:gd name="T64" fmla="*/ 8 w 137"/>
                <a:gd name="T65" fmla="*/ 72 h 137"/>
                <a:gd name="T66" fmla="*/ 8 w 137"/>
                <a:gd name="T67" fmla="*/ 65 h 137"/>
                <a:gd name="T68" fmla="*/ 36 w 137"/>
                <a:gd name="T69" fmla="*/ 43 h 137"/>
                <a:gd name="T70" fmla="*/ 8 w 137"/>
                <a:gd name="T71" fmla="*/ 65 h 137"/>
                <a:gd name="T72" fmla="*/ 38 w 137"/>
                <a:gd name="T73" fmla="*/ 100 h 137"/>
                <a:gd name="T74" fmla="*/ 20 w 137"/>
                <a:gd name="T75" fmla="*/ 105 h 137"/>
                <a:gd name="T76" fmla="*/ 100 w 137"/>
                <a:gd name="T77" fmla="*/ 101 h 137"/>
                <a:gd name="T78" fmla="*/ 90 w 137"/>
                <a:gd name="T79" fmla="*/ 12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7" h="137">
                  <a:moveTo>
                    <a:pt x="69" y="0"/>
                  </a:moveTo>
                  <a:cubicBezTo>
                    <a:pt x="31" y="0"/>
                    <a:pt x="0" y="31"/>
                    <a:pt x="0" y="69"/>
                  </a:cubicBezTo>
                  <a:cubicBezTo>
                    <a:pt x="0" y="106"/>
                    <a:pt x="31" y="137"/>
                    <a:pt x="69" y="137"/>
                  </a:cubicBezTo>
                  <a:cubicBezTo>
                    <a:pt x="107" y="137"/>
                    <a:pt x="137" y="106"/>
                    <a:pt x="137" y="69"/>
                  </a:cubicBezTo>
                  <a:cubicBezTo>
                    <a:pt x="137" y="31"/>
                    <a:pt x="107" y="0"/>
                    <a:pt x="69" y="0"/>
                  </a:cubicBezTo>
                  <a:close/>
                  <a:moveTo>
                    <a:pt x="104" y="65"/>
                  </a:moveTo>
                  <a:cubicBezTo>
                    <a:pt x="104" y="58"/>
                    <a:pt x="103" y="51"/>
                    <a:pt x="101" y="43"/>
                  </a:cubicBezTo>
                  <a:cubicBezTo>
                    <a:pt x="108" y="42"/>
                    <a:pt x="114" y="40"/>
                    <a:pt x="121" y="38"/>
                  </a:cubicBezTo>
                  <a:cubicBezTo>
                    <a:pt x="126" y="46"/>
                    <a:pt x="129" y="55"/>
                    <a:pt x="129" y="65"/>
                  </a:cubicBezTo>
                  <a:lnTo>
                    <a:pt x="104" y="65"/>
                  </a:lnTo>
                  <a:close/>
                  <a:moveTo>
                    <a:pt x="129" y="72"/>
                  </a:moveTo>
                  <a:cubicBezTo>
                    <a:pt x="129" y="82"/>
                    <a:pt x="126" y="92"/>
                    <a:pt x="121" y="100"/>
                  </a:cubicBezTo>
                  <a:cubicBezTo>
                    <a:pt x="114" y="98"/>
                    <a:pt x="108" y="96"/>
                    <a:pt x="101" y="95"/>
                  </a:cubicBezTo>
                  <a:cubicBezTo>
                    <a:pt x="103" y="88"/>
                    <a:pt x="104" y="80"/>
                    <a:pt x="104" y="72"/>
                  </a:cubicBezTo>
                  <a:lnTo>
                    <a:pt x="129" y="72"/>
                  </a:lnTo>
                  <a:close/>
                  <a:moveTo>
                    <a:pt x="118" y="33"/>
                  </a:moveTo>
                  <a:cubicBezTo>
                    <a:pt x="112" y="35"/>
                    <a:pt x="106" y="36"/>
                    <a:pt x="100" y="37"/>
                  </a:cubicBezTo>
                  <a:cubicBezTo>
                    <a:pt x="97" y="29"/>
                    <a:pt x="94" y="20"/>
                    <a:pt x="89" y="11"/>
                  </a:cubicBezTo>
                  <a:cubicBezTo>
                    <a:pt x="100" y="15"/>
                    <a:pt x="110" y="23"/>
                    <a:pt x="118" y="33"/>
                  </a:cubicBezTo>
                  <a:close/>
                  <a:moveTo>
                    <a:pt x="72" y="40"/>
                  </a:moveTo>
                  <a:cubicBezTo>
                    <a:pt x="72" y="16"/>
                    <a:pt x="72" y="16"/>
                    <a:pt x="72" y="16"/>
                  </a:cubicBezTo>
                  <a:cubicBezTo>
                    <a:pt x="76" y="16"/>
                    <a:pt x="79" y="15"/>
                    <a:pt x="82" y="14"/>
                  </a:cubicBezTo>
                  <a:cubicBezTo>
                    <a:pt x="87" y="22"/>
                    <a:pt x="91" y="30"/>
                    <a:pt x="93" y="38"/>
                  </a:cubicBezTo>
                  <a:cubicBezTo>
                    <a:pt x="86" y="39"/>
                    <a:pt x="79" y="40"/>
                    <a:pt x="72" y="40"/>
                  </a:cubicBezTo>
                  <a:close/>
                  <a:moveTo>
                    <a:pt x="95" y="44"/>
                  </a:moveTo>
                  <a:cubicBezTo>
                    <a:pt x="97" y="51"/>
                    <a:pt x="97" y="59"/>
                    <a:pt x="98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9" y="46"/>
                    <a:pt x="87" y="45"/>
                    <a:pt x="95" y="44"/>
                  </a:cubicBezTo>
                  <a:close/>
                  <a:moveTo>
                    <a:pt x="65" y="16"/>
                  </a:moveTo>
                  <a:cubicBezTo>
                    <a:pt x="65" y="40"/>
                    <a:pt x="65" y="40"/>
                    <a:pt x="65" y="40"/>
                  </a:cubicBezTo>
                  <a:cubicBezTo>
                    <a:pt x="57" y="40"/>
                    <a:pt x="50" y="39"/>
                    <a:pt x="44" y="38"/>
                  </a:cubicBezTo>
                  <a:cubicBezTo>
                    <a:pt x="46" y="30"/>
                    <a:pt x="50" y="22"/>
                    <a:pt x="55" y="14"/>
                  </a:cubicBezTo>
                  <a:cubicBezTo>
                    <a:pt x="58" y="15"/>
                    <a:pt x="61" y="16"/>
                    <a:pt x="65" y="16"/>
                  </a:cubicBezTo>
                  <a:close/>
                  <a:moveTo>
                    <a:pt x="42" y="44"/>
                  </a:moveTo>
                  <a:cubicBezTo>
                    <a:pt x="49" y="45"/>
                    <a:pt x="57" y="46"/>
                    <a:pt x="65" y="46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40" y="65"/>
                    <a:pt x="40" y="65"/>
                    <a:pt x="40" y="65"/>
                  </a:cubicBezTo>
                  <a:moveTo>
                    <a:pt x="65" y="72"/>
                  </a:moveTo>
                  <a:cubicBezTo>
                    <a:pt x="65" y="92"/>
                    <a:pt x="65" y="92"/>
                    <a:pt x="65" y="92"/>
                  </a:cubicBezTo>
                  <a:cubicBezTo>
                    <a:pt x="57" y="92"/>
                    <a:pt x="49" y="93"/>
                    <a:pt x="43" y="93"/>
                  </a:cubicBezTo>
                  <a:cubicBezTo>
                    <a:pt x="41" y="87"/>
                    <a:pt x="40" y="80"/>
                    <a:pt x="40" y="72"/>
                  </a:cubicBezTo>
                  <a:lnTo>
                    <a:pt x="65" y="72"/>
                  </a:lnTo>
                  <a:close/>
                  <a:moveTo>
                    <a:pt x="65" y="98"/>
                  </a:moveTo>
                  <a:cubicBezTo>
                    <a:pt x="65" y="121"/>
                    <a:pt x="65" y="121"/>
                    <a:pt x="65" y="121"/>
                  </a:cubicBezTo>
                  <a:cubicBezTo>
                    <a:pt x="61" y="122"/>
                    <a:pt x="58" y="122"/>
                    <a:pt x="55" y="124"/>
                  </a:cubicBezTo>
                  <a:cubicBezTo>
                    <a:pt x="52" y="118"/>
                    <a:pt x="48" y="110"/>
                    <a:pt x="44" y="99"/>
                  </a:cubicBezTo>
                  <a:cubicBezTo>
                    <a:pt x="50" y="99"/>
                    <a:pt x="57" y="98"/>
                    <a:pt x="65" y="98"/>
                  </a:cubicBezTo>
                  <a:close/>
                  <a:moveTo>
                    <a:pt x="72" y="121"/>
                  </a:moveTo>
                  <a:cubicBezTo>
                    <a:pt x="72" y="98"/>
                    <a:pt x="72" y="98"/>
                    <a:pt x="72" y="98"/>
                  </a:cubicBezTo>
                  <a:cubicBezTo>
                    <a:pt x="79" y="98"/>
                    <a:pt x="86" y="99"/>
                    <a:pt x="93" y="100"/>
                  </a:cubicBezTo>
                  <a:cubicBezTo>
                    <a:pt x="90" y="110"/>
                    <a:pt x="86" y="118"/>
                    <a:pt x="83" y="124"/>
                  </a:cubicBezTo>
                  <a:cubicBezTo>
                    <a:pt x="80" y="122"/>
                    <a:pt x="76" y="122"/>
                    <a:pt x="72" y="121"/>
                  </a:cubicBezTo>
                  <a:close/>
                  <a:moveTo>
                    <a:pt x="72" y="92"/>
                  </a:moveTo>
                  <a:cubicBezTo>
                    <a:pt x="72" y="72"/>
                    <a:pt x="72" y="72"/>
                    <a:pt x="72" y="72"/>
                  </a:cubicBezTo>
                  <a:cubicBezTo>
                    <a:pt x="98" y="72"/>
                    <a:pt x="98" y="72"/>
                    <a:pt x="98" y="72"/>
                  </a:cubicBezTo>
                  <a:cubicBezTo>
                    <a:pt x="97" y="80"/>
                    <a:pt x="96" y="87"/>
                    <a:pt x="95" y="94"/>
                  </a:cubicBezTo>
                  <a:cubicBezTo>
                    <a:pt x="87" y="93"/>
                    <a:pt x="79" y="92"/>
                    <a:pt x="72" y="92"/>
                  </a:cubicBezTo>
                  <a:close/>
                  <a:moveTo>
                    <a:pt x="48" y="12"/>
                  </a:moveTo>
                  <a:cubicBezTo>
                    <a:pt x="43" y="20"/>
                    <a:pt x="40" y="29"/>
                    <a:pt x="37" y="37"/>
                  </a:cubicBezTo>
                  <a:cubicBezTo>
                    <a:pt x="29" y="36"/>
                    <a:pt x="23" y="34"/>
                    <a:pt x="20" y="33"/>
                  </a:cubicBezTo>
                  <a:cubicBezTo>
                    <a:pt x="27" y="23"/>
                    <a:pt x="37" y="16"/>
                    <a:pt x="48" y="12"/>
                  </a:cubicBezTo>
                  <a:close/>
                  <a:moveTo>
                    <a:pt x="33" y="72"/>
                  </a:moveTo>
                  <a:cubicBezTo>
                    <a:pt x="33" y="80"/>
                    <a:pt x="34" y="88"/>
                    <a:pt x="36" y="95"/>
                  </a:cubicBezTo>
                  <a:cubicBezTo>
                    <a:pt x="27" y="96"/>
                    <a:pt x="20" y="98"/>
                    <a:pt x="17" y="100"/>
                  </a:cubicBezTo>
                  <a:cubicBezTo>
                    <a:pt x="12" y="91"/>
                    <a:pt x="9" y="82"/>
                    <a:pt x="8" y="72"/>
                  </a:cubicBezTo>
                  <a:lnTo>
                    <a:pt x="33" y="72"/>
                  </a:lnTo>
                  <a:close/>
                  <a:moveTo>
                    <a:pt x="8" y="65"/>
                  </a:moveTo>
                  <a:cubicBezTo>
                    <a:pt x="9" y="55"/>
                    <a:pt x="12" y="46"/>
                    <a:pt x="16" y="38"/>
                  </a:cubicBezTo>
                  <a:cubicBezTo>
                    <a:pt x="20" y="39"/>
                    <a:pt x="26" y="41"/>
                    <a:pt x="36" y="43"/>
                  </a:cubicBezTo>
                  <a:cubicBezTo>
                    <a:pt x="34" y="51"/>
                    <a:pt x="33" y="58"/>
                    <a:pt x="33" y="65"/>
                  </a:cubicBezTo>
                  <a:lnTo>
                    <a:pt x="8" y="65"/>
                  </a:lnTo>
                  <a:close/>
                  <a:moveTo>
                    <a:pt x="20" y="105"/>
                  </a:moveTo>
                  <a:cubicBezTo>
                    <a:pt x="24" y="104"/>
                    <a:pt x="30" y="102"/>
                    <a:pt x="38" y="100"/>
                  </a:cubicBezTo>
                  <a:cubicBezTo>
                    <a:pt x="41" y="111"/>
                    <a:pt x="45" y="120"/>
                    <a:pt x="48" y="126"/>
                  </a:cubicBezTo>
                  <a:cubicBezTo>
                    <a:pt x="37" y="122"/>
                    <a:pt x="27" y="114"/>
                    <a:pt x="20" y="105"/>
                  </a:cubicBezTo>
                  <a:close/>
                  <a:moveTo>
                    <a:pt x="90" y="125"/>
                  </a:moveTo>
                  <a:cubicBezTo>
                    <a:pt x="93" y="120"/>
                    <a:pt x="97" y="111"/>
                    <a:pt x="100" y="101"/>
                  </a:cubicBezTo>
                  <a:cubicBezTo>
                    <a:pt x="105" y="102"/>
                    <a:pt x="111" y="103"/>
                    <a:pt x="117" y="105"/>
                  </a:cubicBezTo>
                  <a:cubicBezTo>
                    <a:pt x="110" y="114"/>
                    <a:pt x="101" y="121"/>
                    <a:pt x="90" y="1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78" name="Graphique 277">
            <a:extLst>
              <a:ext uri="{FF2B5EF4-FFF2-40B4-BE49-F238E27FC236}">
                <a16:creationId xmlns:a16="http://schemas.microsoft.com/office/drawing/2014/main" id="{BF268AB5-80DC-40F2-B0A2-C9957DCABD09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7983485" y="2845826"/>
            <a:ext cx="533400" cy="533400"/>
          </a:xfrm>
          <a:prstGeom prst="rect">
            <a:avLst/>
          </a:prstGeom>
        </p:spPr>
      </p:pic>
      <p:pic>
        <p:nvPicPr>
          <p:cNvPr id="279" name="Graphique 278">
            <a:extLst>
              <a:ext uri="{FF2B5EF4-FFF2-40B4-BE49-F238E27FC236}">
                <a16:creationId xmlns:a16="http://schemas.microsoft.com/office/drawing/2014/main" id="{32E73C59-FAEA-42B0-92AB-4EBB6022B5BE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662547" y="3670330"/>
            <a:ext cx="533400" cy="533400"/>
          </a:xfrm>
          <a:prstGeom prst="rect">
            <a:avLst/>
          </a:prstGeom>
        </p:spPr>
      </p:pic>
      <p:pic>
        <p:nvPicPr>
          <p:cNvPr id="280" name="Graphique 279">
            <a:extLst>
              <a:ext uri="{FF2B5EF4-FFF2-40B4-BE49-F238E27FC236}">
                <a16:creationId xmlns:a16="http://schemas.microsoft.com/office/drawing/2014/main" id="{6FCD82DF-FC40-43CB-A260-8DDDE16C837C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574830" y="3684923"/>
            <a:ext cx="533400" cy="533400"/>
          </a:xfrm>
          <a:prstGeom prst="rect">
            <a:avLst/>
          </a:prstGeom>
        </p:spPr>
      </p:pic>
      <p:pic>
        <p:nvPicPr>
          <p:cNvPr id="281" name="Graphique 280">
            <a:extLst>
              <a:ext uri="{FF2B5EF4-FFF2-40B4-BE49-F238E27FC236}">
                <a16:creationId xmlns:a16="http://schemas.microsoft.com/office/drawing/2014/main" id="{4420FF67-53BC-4213-9932-A8F77ACAD03D}"/>
              </a:ext>
            </a:extLst>
          </p:cNvPr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2453366" y="3662129"/>
            <a:ext cx="533400" cy="533400"/>
          </a:xfrm>
          <a:prstGeom prst="rect">
            <a:avLst/>
          </a:prstGeom>
        </p:spPr>
      </p:pic>
      <p:pic>
        <p:nvPicPr>
          <p:cNvPr id="284" name="Graphique 283">
            <a:extLst>
              <a:ext uri="{FF2B5EF4-FFF2-40B4-BE49-F238E27FC236}">
                <a16:creationId xmlns:a16="http://schemas.microsoft.com/office/drawing/2014/main" id="{71E9A512-9791-49B0-B74B-DE806011D95A}"/>
              </a:ext>
            </a:extLst>
          </p:cNvPr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6209979" y="3662729"/>
            <a:ext cx="532800" cy="532800"/>
          </a:xfrm>
          <a:prstGeom prst="rect">
            <a:avLst/>
          </a:prstGeom>
        </p:spPr>
      </p:pic>
      <p:pic>
        <p:nvPicPr>
          <p:cNvPr id="285" name="Graphique 284">
            <a:extLst>
              <a:ext uri="{FF2B5EF4-FFF2-40B4-BE49-F238E27FC236}">
                <a16:creationId xmlns:a16="http://schemas.microsoft.com/office/drawing/2014/main" id="{A7F95601-1051-45CF-96DB-FDE936D96199}"/>
              </a:ext>
            </a:extLst>
          </p:cNvPr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>
          <a:xfrm>
            <a:off x="3423980" y="3662129"/>
            <a:ext cx="533400" cy="533400"/>
          </a:xfrm>
          <a:prstGeom prst="rect">
            <a:avLst/>
          </a:prstGeom>
        </p:spPr>
      </p:pic>
      <p:pic>
        <p:nvPicPr>
          <p:cNvPr id="286" name="Graphique 285">
            <a:extLst>
              <a:ext uri="{FF2B5EF4-FFF2-40B4-BE49-F238E27FC236}">
                <a16:creationId xmlns:a16="http://schemas.microsoft.com/office/drawing/2014/main" id="{CCB8696C-6C27-4384-AAD6-C9DDF1218E22}"/>
              </a:ext>
            </a:extLst>
          </p:cNvPr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5304947" y="3670330"/>
            <a:ext cx="533400" cy="533400"/>
          </a:xfrm>
          <a:prstGeom prst="rect">
            <a:avLst/>
          </a:prstGeom>
        </p:spPr>
      </p:pic>
      <p:pic>
        <p:nvPicPr>
          <p:cNvPr id="287" name="Graphique 286">
            <a:extLst>
              <a:ext uri="{FF2B5EF4-FFF2-40B4-BE49-F238E27FC236}">
                <a16:creationId xmlns:a16="http://schemas.microsoft.com/office/drawing/2014/main" id="{F4D61C87-F4C7-4701-BE73-7600B6951FB1}"/>
              </a:ext>
            </a:extLst>
          </p:cNvPr>
          <p:cNvPicPr>
            <a:picLocks noChangeAspect="1"/>
          </p:cNvPicPr>
          <p:nvPr userDrawn="1"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4359480" y="3684923"/>
            <a:ext cx="5334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425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HL-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69085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46267EE-390B-46BC-BF07-FC5A10C09B1D}"/>
              </a:ext>
            </a:extLst>
          </p:cNvPr>
          <p:cNvSpPr txBox="1">
            <a:spLocks/>
          </p:cNvSpPr>
          <p:nvPr userDrawn="1"/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800" b="1" kern="1200">
                <a:solidFill>
                  <a:srgbClr val="D4051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-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31350366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8614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5088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814962"/>
              </p:ext>
            </p:extLst>
          </p:nvPr>
        </p:nvGraphicFramePr>
        <p:xfrm>
          <a:off x="1590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2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799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3" y="1151295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D3396788-6EB1-4525-8ED0-B4C10E9CB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385283"/>
            <a:ext cx="4644725" cy="494103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75593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B3BA2A-798B-4698-9F43-DC69D54B6DF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48138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811D9E-E05D-4B65-A03D-E70301F66E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958004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811D9E-E05D-4B65-A03D-E70301F66E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22E6B0-86DF-434B-83C9-FE5A9297B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69281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32247D9-7513-4CA3-8254-6D1B40EFCC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189720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32247D9-7513-4CA3-8254-6D1B40EFCC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22E6B0-86DF-434B-83C9-FE5A9297B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0EABDB-6F82-4750-B376-946F488C03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3850" y="1151293"/>
            <a:ext cx="8496300" cy="35316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82451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ORGANI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17B7892-119E-49A2-9B94-3B99ACDF7AE9}"/>
              </a:ext>
            </a:extLst>
          </p:cNvPr>
          <p:cNvSpPr/>
          <p:nvPr userDrawn="1"/>
        </p:nvSpPr>
        <p:spPr>
          <a:xfrm>
            <a:off x="4790735" y="2942994"/>
            <a:ext cx="3078501" cy="1321615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157861C-EC70-436E-9A00-0F2AE87B8A2C}"/>
              </a:ext>
            </a:extLst>
          </p:cNvPr>
          <p:cNvSpPr/>
          <p:nvPr userDrawn="1"/>
        </p:nvSpPr>
        <p:spPr>
          <a:xfrm>
            <a:off x="1591469" y="2986150"/>
            <a:ext cx="3078502" cy="1271533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9BC514-DA11-454C-92F2-E1A4BBE29407}"/>
              </a:ext>
            </a:extLst>
          </p:cNvPr>
          <p:cNvSpPr/>
          <p:nvPr userDrawn="1"/>
        </p:nvSpPr>
        <p:spPr>
          <a:xfrm>
            <a:off x="1591468" y="2546505"/>
            <a:ext cx="6277767" cy="445520"/>
          </a:xfrm>
          <a:prstGeom prst="rect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0155AD6-D097-4FC8-B045-0F81D3EF43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D691D98-EDAA-4683-9FEA-0B19E06CB0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24" name="Espace réservé du texte 7">
            <a:extLst>
              <a:ext uri="{FF2B5EF4-FFF2-40B4-BE49-F238E27FC236}">
                <a16:creationId xmlns:a16="http://schemas.microsoft.com/office/drawing/2014/main" id="{0ECF80DE-554C-48A3-AC8A-44DF377EB0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3883" y="106954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1500" b="1">
                <a:solidFill>
                  <a:schemeClr val="tx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sp>
        <p:nvSpPr>
          <p:cNvPr id="3" name="Flèche : pentagone 2">
            <a:extLst>
              <a:ext uri="{FF2B5EF4-FFF2-40B4-BE49-F238E27FC236}">
                <a16:creationId xmlns:a16="http://schemas.microsoft.com/office/drawing/2014/main" id="{337BE660-6CF9-4E73-8C14-545513C64C72}"/>
              </a:ext>
            </a:extLst>
          </p:cNvPr>
          <p:cNvSpPr/>
          <p:nvPr userDrawn="1"/>
        </p:nvSpPr>
        <p:spPr>
          <a:xfrm rot="16200000">
            <a:off x="4312471" y="-1004918"/>
            <a:ext cx="835763" cy="6277767"/>
          </a:xfrm>
          <a:prstGeom prst="homePlat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869659A-4EDC-47DE-B7DD-1661770974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18" b="36588"/>
          <a:stretch/>
        </p:blipFill>
        <p:spPr>
          <a:xfrm>
            <a:off x="1942675" y="3155480"/>
            <a:ext cx="2278117" cy="382637"/>
          </a:xfrm>
          <a:prstGeom prst="rect">
            <a:avLst/>
          </a:prstGeom>
        </p:spPr>
      </p:pic>
      <p:pic>
        <p:nvPicPr>
          <p:cNvPr id="37" name="Image 3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37EC0FB3-17D8-4A8A-A6ED-751654C423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3002" y="3216049"/>
            <a:ext cx="1728323" cy="355325"/>
          </a:xfrm>
          <a:prstGeom prst="rect">
            <a:avLst/>
          </a:prstGeom>
        </p:spPr>
      </p:pic>
      <p:sp>
        <p:nvSpPr>
          <p:cNvPr id="38" name="Espace réservé du texte 31">
            <a:extLst>
              <a:ext uri="{FF2B5EF4-FFF2-40B4-BE49-F238E27FC236}">
                <a16:creationId xmlns:a16="http://schemas.microsoft.com/office/drawing/2014/main" id="{6FABAA8A-B79C-4D0E-8749-D28A2EE4D0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91469" y="3726812"/>
            <a:ext cx="3065903" cy="52270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100" b="1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39" name="Espace réservé du texte 31">
            <a:extLst>
              <a:ext uri="{FF2B5EF4-FFF2-40B4-BE49-F238E27FC236}">
                <a16:creationId xmlns:a16="http://schemas.microsoft.com/office/drawing/2014/main" id="{68994757-9C05-42CA-B188-D69DA5FEC9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1600" y="3711952"/>
            <a:ext cx="3041371" cy="52270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100" b="1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40" name="Espace réservé du texte 31">
            <a:extLst>
              <a:ext uri="{FF2B5EF4-FFF2-40B4-BE49-F238E27FC236}">
                <a16:creationId xmlns:a16="http://schemas.microsoft.com/office/drawing/2014/main" id="{4C936EBD-4A75-4CC8-B037-69E83472A1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40086" y="1735986"/>
            <a:ext cx="2980531" cy="835764"/>
          </a:xfrm>
          <a:prstGeom prst="rect">
            <a:avLst/>
          </a:prstGeom>
        </p:spPr>
        <p:txBody>
          <a:bodyPr anchor="ctr" anchorCtr="1"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500" b="1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4</a:t>
            </a:r>
          </a:p>
        </p:txBody>
      </p:sp>
      <p:sp>
        <p:nvSpPr>
          <p:cNvPr id="51" name="Espace réservé du texte 31">
            <a:extLst>
              <a:ext uri="{FF2B5EF4-FFF2-40B4-BE49-F238E27FC236}">
                <a16:creationId xmlns:a16="http://schemas.microsoft.com/office/drawing/2014/main" id="{7D2FE93A-D344-4892-854C-304BC2FDC4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91469" y="2624319"/>
            <a:ext cx="6277767" cy="3222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>
                <a:solidFill>
                  <a:schemeClr val="bg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B81AE858-4705-4A5D-8689-8A5BF9F3A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3977410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71003F-CD49-4E26-B333-2B9CEBFE19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41400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71003F-CD49-4E26-B333-2B9CEBFE1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01860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51927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078240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000" y="2614922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33B8A2-344F-4AB9-BF8E-9B1107184E1F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7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1744761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DA1F28-40B1-4BE4-8FD7-847D4619E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58176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DA1F28-40B1-4BE4-8FD7-847D4619E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59822"/>
            <a:ext cx="4644723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60486"/>
            <a:ext cx="4644723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4000" y="3340361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803679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2B68AE-43D3-4454-96B1-F4F1E3301FB5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7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2853791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189D09-CDF8-44E4-A463-799A24D488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14952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189D09-CDF8-44E4-A463-799A24D488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274"/>
            <a:ext cx="4802400" cy="4468979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9822"/>
            <a:ext cx="4657246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144372"/>
            <a:ext cx="4657245" cy="1615450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4000" y="3340361"/>
            <a:ext cx="4657246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803679"/>
            <a:ext cx="4657246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7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247905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C2A27F-2924-479D-B651-D91EC9136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13360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C2A27F-2924-479D-B651-D91EC9136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9589"/>
          </a:xfrm>
          <a:solidFill>
            <a:srgbClr val="CCCCCC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2699"/>
            <a:ext cx="8658000" cy="543745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4164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4231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4000" y="3346675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809992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7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632981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D24AA5-0DC2-4FE6-8E25-984F58B86D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111720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D24AA5-0DC2-4FE6-8E25-984F58B86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9589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9589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2699"/>
            <a:ext cx="8658000" cy="543745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4164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4231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4000" y="3346675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809992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7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0921100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8612FC-7EC7-4F78-9142-9CE3873B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41511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8612FC-7EC7-4F78-9142-9CE3873B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01860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51927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9CDBD0B-DFF7-44CC-8697-57CE14386AAE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5529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EA131F-B590-42CD-A745-07D6F8D595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214116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EA131F-B590-42CD-A745-07D6F8D59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59822"/>
            <a:ext cx="4644723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60486"/>
            <a:ext cx="4644723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7" y="0"/>
            <a:ext cx="3851275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043628-020F-4CBE-8642-E56C38AABECE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0078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E7FEBC-679B-4A25-9711-F030EF414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32251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E7FEBC-679B-4A25-9711-F030EF414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1" y="1151294"/>
            <a:ext cx="2722563" cy="3531690"/>
          </a:xfrm>
        </p:spPr>
        <p:txBody>
          <a:bodyPr/>
          <a:lstStyle>
            <a:lvl1pPr marL="251994" indent="-251994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1994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40" y="1151294"/>
            <a:ext cx="2722564" cy="3531690"/>
          </a:xfrm>
        </p:spPr>
        <p:txBody>
          <a:bodyPr/>
          <a:lstStyle>
            <a:lvl1pPr marL="251994" indent="-251994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1994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8505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6978E1-A54A-475A-BBCA-13033CF6D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86901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6978E1-A54A-475A-BBCA-13033CF6D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1" y="1151293"/>
            <a:ext cx="8495999" cy="352908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  <a:r>
              <a:rPr lang="en-US" sz="12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746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5893912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71003F-CD49-4E26-B333-2B9CEBFE19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414007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71003F-CD49-4E26-B333-2B9CEBFE1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01860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51927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8239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922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33B8A2-344F-4AB9-BF8E-9B1107184E1F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4935688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HL-ORGANI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9157861C-EC70-436E-9A00-0F2AE87B8A2C}"/>
              </a:ext>
            </a:extLst>
          </p:cNvPr>
          <p:cNvSpPr/>
          <p:nvPr userDrawn="1"/>
        </p:nvSpPr>
        <p:spPr>
          <a:xfrm>
            <a:off x="724833" y="2918695"/>
            <a:ext cx="1492925" cy="1468082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D8A7DF9-20D9-4850-907E-51321234BE47}"/>
              </a:ext>
            </a:extLst>
          </p:cNvPr>
          <p:cNvSpPr/>
          <p:nvPr userDrawn="1"/>
        </p:nvSpPr>
        <p:spPr>
          <a:xfrm>
            <a:off x="2248495" y="2922713"/>
            <a:ext cx="1492925" cy="1101506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E0B7F6B-8C04-4421-9EA0-6D540E0613C0}"/>
              </a:ext>
            </a:extLst>
          </p:cNvPr>
          <p:cNvSpPr/>
          <p:nvPr userDrawn="1"/>
        </p:nvSpPr>
        <p:spPr>
          <a:xfrm>
            <a:off x="3772157" y="2919990"/>
            <a:ext cx="1492925" cy="1109141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6E743B8-972D-4426-8AEC-BD9A3772CB54}"/>
              </a:ext>
            </a:extLst>
          </p:cNvPr>
          <p:cNvSpPr/>
          <p:nvPr userDrawn="1"/>
        </p:nvSpPr>
        <p:spPr>
          <a:xfrm>
            <a:off x="6819481" y="2924625"/>
            <a:ext cx="1492925" cy="1104506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CE0F59-2D13-4D5A-AB51-E5129624B000}"/>
              </a:ext>
            </a:extLst>
          </p:cNvPr>
          <p:cNvSpPr/>
          <p:nvPr userDrawn="1"/>
        </p:nvSpPr>
        <p:spPr>
          <a:xfrm>
            <a:off x="5295819" y="2918695"/>
            <a:ext cx="1492925" cy="1154947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9BC514-DA11-454C-92F2-E1A4BBE29407}"/>
              </a:ext>
            </a:extLst>
          </p:cNvPr>
          <p:cNvSpPr/>
          <p:nvPr userDrawn="1"/>
        </p:nvSpPr>
        <p:spPr>
          <a:xfrm>
            <a:off x="724833" y="2479050"/>
            <a:ext cx="7587573" cy="445520"/>
          </a:xfrm>
          <a:prstGeom prst="rect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0868D5C-83A9-4A35-A331-4B47A79883B6}"/>
              </a:ext>
            </a:extLst>
          </p:cNvPr>
          <p:cNvSpPr/>
          <p:nvPr userDrawn="1"/>
        </p:nvSpPr>
        <p:spPr>
          <a:xfrm>
            <a:off x="724833" y="3873620"/>
            <a:ext cx="1492926" cy="513157"/>
          </a:xfrm>
          <a:prstGeom prst="rect">
            <a:avLst/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Flèche : pentagone 2">
            <a:extLst>
              <a:ext uri="{FF2B5EF4-FFF2-40B4-BE49-F238E27FC236}">
                <a16:creationId xmlns:a16="http://schemas.microsoft.com/office/drawing/2014/main" id="{337BE660-6CF9-4E73-8C14-545513C64C72}"/>
              </a:ext>
            </a:extLst>
          </p:cNvPr>
          <p:cNvSpPr/>
          <p:nvPr userDrawn="1"/>
        </p:nvSpPr>
        <p:spPr>
          <a:xfrm rot="16200000">
            <a:off x="4107492" y="-1724052"/>
            <a:ext cx="822258" cy="7587574"/>
          </a:xfrm>
          <a:prstGeom prst="homePlat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6A0838B-66DD-494E-AF02-DAAB545F6208}"/>
              </a:ext>
            </a:extLst>
          </p:cNvPr>
          <p:cNvSpPr/>
          <p:nvPr userDrawn="1"/>
        </p:nvSpPr>
        <p:spPr>
          <a:xfrm>
            <a:off x="2248495" y="3873620"/>
            <a:ext cx="6063911" cy="513161"/>
          </a:xfrm>
          <a:prstGeom prst="rect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0155AD6-D097-4FC8-B045-0F81D3EF43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D691D98-EDAA-4683-9FEA-0B19E06CB0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24" name="Espace réservé du texte 7">
            <a:extLst>
              <a:ext uri="{FF2B5EF4-FFF2-40B4-BE49-F238E27FC236}">
                <a16:creationId xmlns:a16="http://schemas.microsoft.com/office/drawing/2014/main" id="{0ECF80DE-554C-48A3-AC8A-44DF377EB0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3883" y="106954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1500" b="1">
                <a:solidFill>
                  <a:schemeClr val="tx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Sous-titre 2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8869659A-4EDC-47DE-B7DD-1661770974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718" b="36588"/>
          <a:stretch/>
        </p:blipFill>
        <p:spPr>
          <a:xfrm>
            <a:off x="755570" y="3169880"/>
            <a:ext cx="1407850" cy="236465"/>
          </a:xfrm>
          <a:prstGeom prst="rect">
            <a:avLst/>
          </a:prstGeom>
        </p:spPr>
      </p:pic>
      <p:sp>
        <p:nvSpPr>
          <p:cNvPr id="38" name="Espace réservé du texte 31">
            <a:extLst>
              <a:ext uri="{FF2B5EF4-FFF2-40B4-BE49-F238E27FC236}">
                <a16:creationId xmlns:a16="http://schemas.microsoft.com/office/drawing/2014/main" id="{6FABAA8A-B79C-4D0E-8749-D28A2EE4D0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4833" y="3864073"/>
            <a:ext cx="1492925" cy="52270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1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40" name="Espace réservé du texte 31">
            <a:extLst>
              <a:ext uri="{FF2B5EF4-FFF2-40B4-BE49-F238E27FC236}">
                <a16:creationId xmlns:a16="http://schemas.microsoft.com/office/drawing/2014/main" id="{4C936EBD-4A75-4CC8-B037-69E83472A10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28353" y="1656717"/>
            <a:ext cx="2980531" cy="835764"/>
          </a:xfrm>
          <a:prstGeom prst="rect">
            <a:avLst/>
          </a:prstGeom>
        </p:spPr>
        <p:txBody>
          <a:bodyPr anchor="ctr" anchorCtr="1"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None/>
              <a:defRPr sz="1500" b="1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4</a:t>
            </a:r>
          </a:p>
        </p:txBody>
      </p:sp>
      <p:sp>
        <p:nvSpPr>
          <p:cNvPr id="51" name="Espace réservé du texte 31">
            <a:extLst>
              <a:ext uri="{FF2B5EF4-FFF2-40B4-BE49-F238E27FC236}">
                <a16:creationId xmlns:a16="http://schemas.microsoft.com/office/drawing/2014/main" id="{7D2FE93A-D344-4892-854C-304BC2FDC4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91469" y="2556864"/>
            <a:ext cx="6277767" cy="322240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>
                <a:solidFill>
                  <a:schemeClr val="bg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19" name="Espace réservé du texte 31">
            <a:extLst>
              <a:ext uri="{FF2B5EF4-FFF2-40B4-BE49-F238E27FC236}">
                <a16:creationId xmlns:a16="http://schemas.microsoft.com/office/drawing/2014/main" id="{6AACD12F-DCDE-4DCF-810F-94FEAECCFE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48495" y="3506423"/>
            <a:ext cx="1492925" cy="52270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100" b="1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pic>
        <p:nvPicPr>
          <p:cNvPr id="37" name="Image 3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37EC0FB3-17D8-4A8A-A6ED-751654C423B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0915" y="3196666"/>
            <a:ext cx="1068084" cy="219587"/>
          </a:xfrm>
          <a:prstGeom prst="rect">
            <a:avLst/>
          </a:prstGeom>
        </p:spPr>
      </p:pic>
      <p:sp>
        <p:nvSpPr>
          <p:cNvPr id="21" name="Espace réservé du texte 31">
            <a:extLst>
              <a:ext uri="{FF2B5EF4-FFF2-40B4-BE49-F238E27FC236}">
                <a16:creationId xmlns:a16="http://schemas.microsoft.com/office/drawing/2014/main" id="{0661693B-5338-4421-A400-E43BEB26461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72157" y="3496876"/>
            <a:ext cx="1492925" cy="52270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100" b="1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23" name="Espace réservé du texte 31">
            <a:extLst>
              <a:ext uri="{FF2B5EF4-FFF2-40B4-BE49-F238E27FC236}">
                <a16:creationId xmlns:a16="http://schemas.microsoft.com/office/drawing/2014/main" id="{7EE77FE3-54CA-4083-970B-985560739DB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295819" y="3495581"/>
            <a:ext cx="1492925" cy="52270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100" b="1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26" name="Espace réservé du texte 31">
            <a:extLst>
              <a:ext uri="{FF2B5EF4-FFF2-40B4-BE49-F238E27FC236}">
                <a16:creationId xmlns:a16="http://schemas.microsoft.com/office/drawing/2014/main" id="{E4BBA60E-0EA1-43F1-84DA-48F47BAEB1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19481" y="3501511"/>
            <a:ext cx="1492925" cy="52270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100" b="1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pic>
        <p:nvPicPr>
          <p:cNvPr id="27" name="Image 2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EE20B81A-B5DF-4599-8A06-92116CF7CB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136" y="3192888"/>
            <a:ext cx="1068084" cy="219587"/>
          </a:xfrm>
          <a:prstGeom prst="rect">
            <a:avLst/>
          </a:prstGeom>
        </p:spPr>
      </p:pic>
      <p:pic>
        <p:nvPicPr>
          <p:cNvPr id="30" name="Image 29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AB966380-6621-43C2-A0C9-26B3F320D64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871" y="3178318"/>
            <a:ext cx="1068084" cy="219587"/>
          </a:xfrm>
          <a:prstGeom prst="rect">
            <a:avLst/>
          </a:prstGeom>
        </p:spPr>
      </p:pic>
      <p:pic>
        <p:nvPicPr>
          <p:cNvPr id="31" name="Image 30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A744889C-8B72-4FFE-96C8-3336022F6F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7108" y="3178318"/>
            <a:ext cx="1068084" cy="219587"/>
          </a:xfrm>
          <a:prstGeom prst="rect">
            <a:avLst/>
          </a:prstGeom>
        </p:spPr>
      </p:pic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E950D8F6-FDDB-475C-B92A-45F5D5F81B9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66817" y="4018289"/>
            <a:ext cx="6045589" cy="37305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1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2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6900BD53-36D1-45E6-8769-6418A2E1EB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3873385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DA1F28-40B1-4BE4-8FD7-847D4619E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581760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DA1F28-40B1-4BE4-8FD7-847D4619E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59821"/>
            <a:ext cx="4644723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60485"/>
            <a:ext cx="4644723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0362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3679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2B68AE-43D3-4454-96B1-F4F1E3301FB5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417253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189D09-CDF8-44E4-A463-799A24D488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14952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189D09-CDF8-44E4-A463-799A24D488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274"/>
            <a:ext cx="4802400" cy="4468979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9821"/>
            <a:ext cx="4657246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144372"/>
            <a:ext cx="4657245" cy="1615450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0362"/>
            <a:ext cx="4657246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3679"/>
            <a:ext cx="4657246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079395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C2A27F-2924-479D-B651-D91EC9136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13360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C2A27F-2924-479D-B651-D91EC9136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9589"/>
          </a:xfrm>
          <a:solidFill>
            <a:srgbClr val="CCCCCC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2699"/>
            <a:ext cx="8658000" cy="543745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4164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4231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6675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9992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5427595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D24AA5-0DC2-4FE6-8E25-984F58B86D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111720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D24AA5-0DC2-4FE6-8E25-984F58B86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9144000" cy="5149589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9589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2699"/>
            <a:ext cx="8658000" cy="543745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4164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4231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6675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9992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36938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8612FC-7EC7-4F78-9142-9CE3873B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415116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8612FC-7EC7-4F78-9142-9CE3873B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01860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51927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9CDBD0B-DFF7-44CC-8697-57CE14386AAE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8095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EA131F-B590-42CD-A745-07D6F8D595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2141169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EA131F-B590-42CD-A745-07D6F8D59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59821"/>
            <a:ext cx="4644723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60485"/>
            <a:ext cx="4644723" cy="1499336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7" y="0"/>
            <a:ext cx="3851275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043628-020F-4CBE-8642-E56C38AABECE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99065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E7FEBC-679B-4A25-9711-F030EF414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32251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E7FEBC-679B-4A25-9711-F030EF414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1" y="1151293"/>
            <a:ext cx="2722563" cy="353169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1293"/>
            <a:ext cx="2722564" cy="353169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6159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6978E1-A54A-475A-BBCA-13033CF6D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869010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6978E1-A54A-475A-BBCA-13033CF6D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1" y="1151293"/>
            <a:ext cx="8495999" cy="352908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  <a:r>
              <a:rPr lang="en-US" sz="12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746"/>
            <a:ext cx="4572000" cy="369446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18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29503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8DFF74-E7AA-421A-9EC2-6440CF4931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726236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08DFF74-E7AA-421A-9EC2-6440CF4931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783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A2E199-3FA1-4488-85FF-FF5378112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4836385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A2E199-3FA1-4488-85FF-FF5378112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165450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49" y="1151293"/>
            <a:ext cx="4165450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919103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CHIFF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llipse 12">
            <a:extLst>
              <a:ext uri="{FF2B5EF4-FFF2-40B4-BE49-F238E27FC236}">
                <a16:creationId xmlns:a16="http://schemas.microsoft.com/office/drawing/2014/main" id="{E2EED646-CD86-4F9C-B26F-0AF05DC3F1B6}"/>
              </a:ext>
            </a:extLst>
          </p:cNvPr>
          <p:cNvSpPr/>
          <p:nvPr userDrawn="1"/>
        </p:nvSpPr>
        <p:spPr>
          <a:xfrm>
            <a:off x="6266472" y="1390981"/>
            <a:ext cx="1526400" cy="1526400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F85DAEA-8E58-4D2E-86D9-67B82313EF0E}"/>
              </a:ext>
            </a:extLst>
          </p:cNvPr>
          <p:cNvSpPr/>
          <p:nvPr userDrawn="1"/>
        </p:nvSpPr>
        <p:spPr>
          <a:xfrm>
            <a:off x="3755240" y="1390981"/>
            <a:ext cx="1526400" cy="1526400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20B8F66F-346C-4573-BA24-EC4183DE712B}"/>
              </a:ext>
            </a:extLst>
          </p:cNvPr>
          <p:cNvSpPr/>
          <p:nvPr userDrawn="1"/>
        </p:nvSpPr>
        <p:spPr>
          <a:xfrm>
            <a:off x="1351128" y="1390981"/>
            <a:ext cx="1526400" cy="1526400"/>
          </a:xfrm>
          <a:prstGeom prst="ellipse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3188D724-EFEB-4011-93DE-68564549806F}"/>
              </a:ext>
            </a:extLst>
          </p:cNvPr>
          <p:cNvSpPr/>
          <p:nvPr userDrawn="1"/>
        </p:nvSpPr>
        <p:spPr>
          <a:xfrm>
            <a:off x="6821167" y="1203537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51BC6B26-869E-40BA-8B3E-11A065886452}"/>
              </a:ext>
            </a:extLst>
          </p:cNvPr>
          <p:cNvSpPr/>
          <p:nvPr userDrawn="1"/>
        </p:nvSpPr>
        <p:spPr>
          <a:xfrm>
            <a:off x="4291255" y="1196042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EE1B6F8A-ED5E-42D8-89FB-686C9FB58515}"/>
              </a:ext>
            </a:extLst>
          </p:cNvPr>
          <p:cNvSpPr/>
          <p:nvPr userDrawn="1"/>
        </p:nvSpPr>
        <p:spPr>
          <a:xfrm>
            <a:off x="1894873" y="1196042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0155AD6-D097-4FC8-B045-0F81D3EF43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D691D98-EDAA-4683-9FEA-0B19E06CB0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F8E95111-64FD-425D-AFA0-0724500516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1128" y="1751581"/>
            <a:ext cx="1526399" cy="45354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5" name="Espace réservé du texte 22">
            <a:extLst>
              <a:ext uri="{FF2B5EF4-FFF2-40B4-BE49-F238E27FC236}">
                <a16:creationId xmlns:a16="http://schemas.microsoft.com/office/drawing/2014/main" id="{62D4D4DB-F4C1-44ED-9364-0DC1B841EB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55241" y="1754247"/>
            <a:ext cx="1526399" cy="45354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6" name="Espace réservé du texte 22">
            <a:extLst>
              <a:ext uri="{FF2B5EF4-FFF2-40B4-BE49-F238E27FC236}">
                <a16:creationId xmlns:a16="http://schemas.microsoft.com/office/drawing/2014/main" id="{5E24C276-D529-4E97-A2C1-EFE8A026D5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21" y="1879825"/>
            <a:ext cx="1624223" cy="45354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AB7CFDB5-5406-4E31-8FCF-ED2B7483CF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1128" y="2138905"/>
            <a:ext cx="1526399" cy="36128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000" spc="60" baseline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0" name="Espace réservé du texte 26">
            <a:extLst>
              <a:ext uri="{FF2B5EF4-FFF2-40B4-BE49-F238E27FC236}">
                <a16:creationId xmlns:a16="http://schemas.microsoft.com/office/drawing/2014/main" id="{0B1763CF-210B-45A1-B979-08656413A3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55239" y="2138905"/>
            <a:ext cx="1526399" cy="36128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000" spc="60" baseline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1" name="Espace réservé du texte 26">
            <a:extLst>
              <a:ext uri="{FF2B5EF4-FFF2-40B4-BE49-F238E27FC236}">
                <a16:creationId xmlns:a16="http://schemas.microsoft.com/office/drawing/2014/main" id="{46A6368B-FDE3-4D0C-A232-030BFDF25B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4432" y="2264090"/>
            <a:ext cx="1526399" cy="36128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000" spc="60" baseline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731C760A-8728-44C1-8AE1-32E45FE978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883" y="3207100"/>
            <a:ext cx="8193522" cy="12287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4</a:t>
            </a:r>
          </a:p>
          <a:p>
            <a:pPr lvl="1"/>
            <a:r>
              <a:rPr lang="fr-FR"/>
              <a:t>Texte 4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C978902-5C6F-472F-98C7-12CE6539B9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93548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2A450B-71B7-4AC9-BBAE-99C0031723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4449694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2A450B-71B7-4AC9-BBAE-99C0031723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165450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49" y="1151293"/>
            <a:ext cx="4165450" cy="353169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pt</a:t>
            </a:r>
          </a:p>
        </p:txBody>
      </p:sp>
    </p:spTree>
    <p:extLst>
      <p:ext uri="{BB962C8B-B14F-4D97-AF65-F5344CB8AC3E}">
        <p14:creationId xmlns:p14="http://schemas.microsoft.com/office/powerpoint/2010/main" val="16888461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5088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187813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385282"/>
            <a:ext cx="4644725" cy="494103"/>
          </a:xfrm>
        </p:spPr>
        <p:txBody>
          <a:bodyPr vert="horz"/>
          <a:lstStyle/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BC2C23-B31E-4571-9F4D-45F827F20E7A}"/>
              </a:ext>
            </a:extLst>
          </p:cNvPr>
          <p:cNvSpPr txBox="1"/>
          <p:nvPr userDrawn="1"/>
        </p:nvSpPr>
        <p:spPr bwMode="gray">
          <a:xfrm>
            <a:off x="8441532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7029977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5088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1337567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385282"/>
            <a:ext cx="4644725" cy="494103"/>
          </a:xfrm>
        </p:spPr>
        <p:txBody>
          <a:bodyPr vert="horz"/>
          <a:lstStyle/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0DF77F-6B55-403B-8081-E8A719202D02}"/>
              </a:ext>
            </a:extLst>
          </p:cNvPr>
          <p:cNvSpPr txBox="1"/>
          <p:nvPr userDrawn="1"/>
        </p:nvSpPr>
        <p:spPr bwMode="gray">
          <a:xfrm>
            <a:off x="8441532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91437377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74717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5088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8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385282"/>
            <a:ext cx="4644725" cy="494103"/>
          </a:xfrm>
        </p:spPr>
        <p:txBody>
          <a:bodyPr vert="horz"/>
          <a:lstStyle/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BE0FF7-A32F-416E-87C3-56F9730D0A7C}"/>
              </a:ext>
            </a:extLst>
          </p:cNvPr>
          <p:cNvSpPr txBox="1"/>
          <p:nvPr userDrawn="1"/>
        </p:nvSpPr>
        <p:spPr bwMode="gray">
          <a:xfrm>
            <a:off x="8441532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4640958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73FA71-6ACF-485E-901C-63ACAC87D6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586021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73FA71-6ACF-485E-901C-63ACAC87D6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1293"/>
            <a:ext cx="4165450" cy="353169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1293"/>
            <a:ext cx="4165450" cy="353169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0002377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11968E-83DB-4DB3-A9B6-D97DBFE6C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88538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11968E-83DB-4DB3-A9B6-D97DBFE6C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1" y="1151293"/>
            <a:ext cx="8495999" cy="352908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71C7BE-1372-4E90-A4F7-054FC803EECD}"/>
              </a:ext>
            </a:extLst>
          </p:cNvPr>
          <p:cNvSpPr txBox="1"/>
          <p:nvPr userDrawn="1"/>
        </p:nvSpPr>
        <p:spPr bwMode="gray">
          <a:xfrm>
            <a:off x="8441532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2315477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4EA69-D725-4DCC-983D-72C369C57A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65047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4EA69-D725-4DCC-983D-72C369C57A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1" y="1151293"/>
            <a:ext cx="8495999" cy="35290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783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79E1A1-AB4B-4AA3-88FA-15FA29977D0C}"/>
              </a:ext>
            </a:extLst>
          </p:cNvPr>
          <p:cNvSpPr txBox="1"/>
          <p:nvPr userDrawn="1"/>
        </p:nvSpPr>
        <p:spPr bwMode="gray">
          <a:xfrm>
            <a:off x="8441532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>
                <a:solidFill>
                  <a:schemeClr val="bg1"/>
                </a:solidFill>
              </a:rPr>
              <a:pPr lvl="0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4528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4EA69-D725-4DCC-983D-72C369C57A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650475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4EA69-D725-4DCC-983D-72C369C57A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1" y="1151293"/>
            <a:ext cx="8495999" cy="35290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2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79E1A1-AB4B-4AA3-88FA-15FA29977D0C}"/>
              </a:ext>
            </a:extLst>
          </p:cNvPr>
          <p:cNvSpPr txBox="1"/>
          <p:nvPr userDrawn="1"/>
        </p:nvSpPr>
        <p:spPr bwMode="gray">
          <a:xfrm>
            <a:off x="8441532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>
                <a:solidFill>
                  <a:schemeClr val="bg1"/>
                </a:solidFill>
              </a:rPr>
              <a:pPr lvl="0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5936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676EEB-DCAF-45BE-86D2-85F208300B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1560452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676EEB-DCAF-45BE-86D2-85F208300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5088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EE03B5-6697-41B7-903F-F80FE440BC6B}"/>
              </a:ext>
            </a:extLst>
          </p:cNvPr>
          <p:cNvSpPr txBox="1"/>
          <p:nvPr userDrawn="1"/>
        </p:nvSpPr>
        <p:spPr bwMode="gray">
          <a:xfrm>
            <a:off x="8441532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57174501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9954BD7-0173-42FA-A1F6-CC93466536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57752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9954BD7-0173-42FA-A1F6-CC93466536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8" y="1963802"/>
            <a:ext cx="5233987" cy="897895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82CE2E-4208-4E71-B584-F95BB626E1F9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923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CHIFF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llipse 12">
            <a:extLst>
              <a:ext uri="{FF2B5EF4-FFF2-40B4-BE49-F238E27FC236}">
                <a16:creationId xmlns:a16="http://schemas.microsoft.com/office/drawing/2014/main" id="{E2EED646-CD86-4F9C-B26F-0AF05DC3F1B6}"/>
              </a:ext>
            </a:extLst>
          </p:cNvPr>
          <p:cNvSpPr/>
          <p:nvPr userDrawn="1"/>
        </p:nvSpPr>
        <p:spPr>
          <a:xfrm>
            <a:off x="6266472" y="1390981"/>
            <a:ext cx="1526400" cy="1526400"/>
          </a:xfrm>
          <a:prstGeom prst="ellipse">
            <a:avLst/>
          </a:prstGeom>
          <a:solidFill>
            <a:srgbClr val="238F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9F85DAEA-8E58-4D2E-86D9-67B82313EF0E}"/>
              </a:ext>
            </a:extLst>
          </p:cNvPr>
          <p:cNvSpPr/>
          <p:nvPr userDrawn="1"/>
        </p:nvSpPr>
        <p:spPr>
          <a:xfrm>
            <a:off x="3755240" y="1390981"/>
            <a:ext cx="1526400" cy="1526400"/>
          </a:xfrm>
          <a:prstGeom prst="ellipse">
            <a:avLst/>
          </a:prstGeom>
          <a:solidFill>
            <a:srgbClr val="238F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20B8F66F-346C-4573-BA24-EC4183DE712B}"/>
              </a:ext>
            </a:extLst>
          </p:cNvPr>
          <p:cNvSpPr/>
          <p:nvPr userDrawn="1"/>
        </p:nvSpPr>
        <p:spPr>
          <a:xfrm>
            <a:off x="1351128" y="1390981"/>
            <a:ext cx="1526400" cy="1526400"/>
          </a:xfrm>
          <a:prstGeom prst="ellipse">
            <a:avLst/>
          </a:prstGeom>
          <a:solidFill>
            <a:srgbClr val="238F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3188D724-EFEB-4011-93DE-68564549806F}"/>
              </a:ext>
            </a:extLst>
          </p:cNvPr>
          <p:cNvSpPr/>
          <p:nvPr userDrawn="1"/>
        </p:nvSpPr>
        <p:spPr>
          <a:xfrm>
            <a:off x="6821167" y="1203537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51BC6B26-869E-40BA-8B3E-11A065886452}"/>
              </a:ext>
            </a:extLst>
          </p:cNvPr>
          <p:cNvSpPr/>
          <p:nvPr userDrawn="1"/>
        </p:nvSpPr>
        <p:spPr>
          <a:xfrm>
            <a:off x="4291255" y="1196042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EE1B6F8A-ED5E-42D8-89FB-686C9FB58515}"/>
              </a:ext>
            </a:extLst>
          </p:cNvPr>
          <p:cNvSpPr/>
          <p:nvPr userDrawn="1"/>
        </p:nvSpPr>
        <p:spPr>
          <a:xfrm>
            <a:off x="1894873" y="1196042"/>
            <a:ext cx="432000" cy="43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0155AD6-D097-4FC8-B045-0F81D3EF43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D691D98-EDAA-4683-9FEA-0B19E06CB0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F8E95111-64FD-425D-AFA0-0724500516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1128" y="1751581"/>
            <a:ext cx="1526399" cy="45354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5" name="Espace réservé du texte 22">
            <a:extLst>
              <a:ext uri="{FF2B5EF4-FFF2-40B4-BE49-F238E27FC236}">
                <a16:creationId xmlns:a16="http://schemas.microsoft.com/office/drawing/2014/main" id="{62D4D4DB-F4C1-44ED-9364-0DC1B841EB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55241" y="1754247"/>
            <a:ext cx="1526399" cy="45354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6" name="Espace réservé du texte 22">
            <a:extLst>
              <a:ext uri="{FF2B5EF4-FFF2-40B4-BE49-F238E27FC236}">
                <a16:creationId xmlns:a16="http://schemas.microsoft.com/office/drawing/2014/main" id="{5E24C276-D529-4E97-A2C1-EFE8A026D5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21" y="1879825"/>
            <a:ext cx="1624223" cy="45354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AB7CFDB5-5406-4E31-8FCF-ED2B7483CF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1128" y="2138905"/>
            <a:ext cx="1526399" cy="36128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000" spc="60" baseline="0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0" name="Espace réservé du texte 26">
            <a:extLst>
              <a:ext uri="{FF2B5EF4-FFF2-40B4-BE49-F238E27FC236}">
                <a16:creationId xmlns:a16="http://schemas.microsoft.com/office/drawing/2014/main" id="{0B1763CF-210B-45A1-B979-08656413A3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55239" y="2138905"/>
            <a:ext cx="1526399" cy="36128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000" spc="60" baseline="0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1" name="Espace réservé du texte 26">
            <a:extLst>
              <a:ext uri="{FF2B5EF4-FFF2-40B4-BE49-F238E27FC236}">
                <a16:creationId xmlns:a16="http://schemas.microsoft.com/office/drawing/2014/main" id="{46A6368B-FDE3-4D0C-A232-030BFDF25B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4432" y="2264090"/>
            <a:ext cx="1526399" cy="36128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000" spc="60" baseline="0">
                <a:solidFill>
                  <a:schemeClr val="bg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731C760A-8728-44C1-8AE1-32E45FE978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883" y="3207100"/>
            <a:ext cx="8193522" cy="12287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4</a:t>
            </a:r>
          </a:p>
          <a:p>
            <a:pPr lvl="1"/>
            <a:r>
              <a:rPr lang="fr-FR"/>
              <a:t>Texte 4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7C96D958-4C3F-4059-BB87-9D6D773EE8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1906208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C574BF-AAB5-4CD5-8232-0EBD4B9DD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3588742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C574BF-AAB5-4CD5-8232-0EBD4B9DD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4" y="1485637"/>
            <a:ext cx="3134163" cy="5541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b="0" cap="all" baseline="0" noProof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93B1CF-27E6-46E4-AAB9-9F698C599ECF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noAutofit/>
          </a:bodyPr>
          <a:lstStyle/>
          <a:p>
            <a:pPr algn="l"/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87212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8D3552-E75E-450B-A324-C21874DD6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531031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8D3552-E75E-450B-A324-C21874DD6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22E6B0-86DF-434B-83C9-FE5A9297B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Delivery" panose="020F0503020204020204" charset="0"/>
                <a:sym typeface="Delivery" panose="020F050302020402020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0EABDB-6F82-4750-B376-946F488C03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3850" y="1151293"/>
            <a:ext cx="8496300" cy="3531690"/>
          </a:xfrm>
        </p:spPr>
        <p:txBody>
          <a:bodyPr/>
          <a:lstStyle>
            <a:lvl1pPr>
              <a:defRPr>
                <a:latin typeface="Delivery" panose="020F0503020204020204" charset="0"/>
                <a:sym typeface="Delivery" panose="020F0503020204020204" charset="0"/>
              </a:defRPr>
            </a:lvl1pPr>
            <a:lvl2pPr>
              <a:defRPr>
                <a:latin typeface="Delivery" panose="020F0503020204020204" charset="0"/>
                <a:sym typeface="Delivery" panose="020F0503020204020204" charset="0"/>
              </a:defRPr>
            </a:lvl2pPr>
            <a:lvl3pPr>
              <a:defRPr>
                <a:latin typeface="Delivery" panose="020F0503020204020204" charset="0"/>
                <a:sym typeface="Delivery" panose="020F0503020204020204" charset="0"/>
              </a:defRPr>
            </a:lvl3pPr>
            <a:lvl4pPr>
              <a:defRPr>
                <a:latin typeface="Delivery" panose="020F0503020204020204" charset="0"/>
                <a:sym typeface="Delivery" panose="020F050302020402020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8949312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811D9E-E05D-4B65-A03D-E70301F66E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958004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811D9E-E05D-4B65-A03D-E70301F66E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22E6B0-86DF-434B-83C9-FE5A9297B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59832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32247D9-7513-4CA3-8254-6D1B40EFCC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218972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32247D9-7513-4CA3-8254-6D1B40EFCC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22E6B0-86DF-434B-83C9-FE5A9297B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0EABDB-6F82-4750-B376-946F488C03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3850" y="1151293"/>
            <a:ext cx="8496300" cy="35316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132333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371003F-CD49-4E26-B333-2B9CEBFE19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41400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371003F-CD49-4E26-B333-2B9CEBFE19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01860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99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788" indent="0" algn="ctr">
              <a:buNone/>
              <a:defRPr sz="1499"/>
            </a:lvl2pPr>
            <a:lvl3pPr marL="685577" indent="0" algn="ctr">
              <a:buNone/>
              <a:defRPr sz="1349"/>
            </a:lvl3pPr>
            <a:lvl4pPr marL="1028366" indent="0" algn="ctr">
              <a:buNone/>
              <a:defRPr sz="1199"/>
            </a:lvl4pPr>
            <a:lvl5pPr marL="1371155" indent="0" algn="ctr">
              <a:buNone/>
              <a:defRPr sz="1199"/>
            </a:lvl5pPr>
            <a:lvl6pPr marL="1713943" indent="0" algn="ctr">
              <a:buNone/>
              <a:defRPr sz="1199"/>
            </a:lvl6pPr>
            <a:lvl7pPr marL="2056731" indent="0" algn="ctr">
              <a:buNone/>
              <a:defRPr sz="1199"/>
            </a:lvl7pPr>
            <a:lvl8pPr marL="2399520" indent="0" algn="ctr">
              <a:buNone/>
              <a:defRPr sz="1199"/>
            </a:lvl8pPr>
            <a:lvl9pPr marL="2742308" indent="0" algn="ctr">
              <a:buNone/>
              <a:defRPr sz="1199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51927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599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078239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4000" y="2614922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33B8A2-344F-4AB9-BF8E-9B1107184E1F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8" tIns="35989" rIns="71978" bIns="35989" rtlCol="0" anchor="t">
            <a:noAutofit/>
          </a:bodyPr>
          <a:lstStyle/>
          <a:p>
            <a:pPr algn="l"/>
            <a:endParaRPr lang="en-US" sz="1199">
              <a:solidFill>
                <a:schemeClr val="tx1"/>
              </a:solidFill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7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2233072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DA1F28-40B1-4BE4-8FD7-847D4619E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58176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45" imgH="245" progId="TCLayout.ActiveDocument.1">
                  <p:embed/>
                </p:oleObj>
              </mc:Choice>
              <mc:Fallback>
                <p:oleObj name="think-cell Slide" r:id="rId3" imgW="245" imgH="2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DA1F28-40B1-4BE4-8FD7-847D4619E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1"/>
            <a:ext cx="3851274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59822"/>
            <a:ext cx="4644723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99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788" indent="0" algn="ctr">
              <a:buNone/>
              <a:defRPr sz="1499"/>
            </a:lvl2pPr>
            <a:lvl3pPr marL="685577" indent="0" algn="ctr">
              <a:buNone/>
              <a:defRPr sz="1349"/>
            </a:lvl3pPr>
            <a:lvl4pPr marL="1028366" indent="0" algn="ctr">
              <a:buNone/>
              <a:defRPr sz="1199"/>
            </a:lvl4pPr>
            <a:lvl5pPr marL="1371155" indent="0" algn="ctr">
              <a:buNone/>
              <a:defRPr sz="1199"/>
            </a:lvl5pPr>
            <a:lvl6pPr marL="1713943" indent="0" algn="ctr">
              <a:buNone/>
              <a:defRPr sz="1199"/>
            </a:lvl6pPr>
            <a:lvl7pPr marL="2056731" indent="0" algn="ctr">
              <a:buNone/>
              <a:defRPr sz="1199"/>
            </a:lvl7pPr>
            <a:lvl8pPr marL="2399520" indent="0" algn="ctr">
              <a:buNone/>
              <a:defRPr sz="1199"/>
            </a:lvl8pPr>
            <a:lvl9pPr marL="2742308" indent="0" algn="ctr">
              <a:buNone/>
              <a:defRPr sz="1199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60485"/>
            <a:ext cx="4644723" cy="1499336"/>
          </a:xfrm>
        </p:spPr>
        <p:txBody>
          <a:bodyPr vert="horz"/>
          <a:lstStyle>
            <a:lvl1pPr>
              <a:lnSpc>
                <a:spcPct val="90000"/>
              </a:lnSpc>
              <a:defRPr sz="3599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4000" y="3340362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803679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2B68AE-43D3-4454-96B1-F4F1E3301FB5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8" tIns="35989" rIns="71978" bIns="35989" rtlCol="0" anchor="t">
            <a:noAutofit/>
          </a:bodyPr>
          <a:lstStyle/>
          <a:p>
            <a:pPr algn="l"/>
            <a:endParaRPr lang="en-US" sz="1199">
              <a:solidFill>
                <a:schemeClr val="tx1"/>
              </a:solidFill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7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7123286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6189D09-CDF8-44E4-A463-799A24D488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14952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6189D09-CDF8-44E4-A463-799A24D488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9144000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274"/>
            <a:ext cx="4802400" cy="4468979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49" smtClean="0">
                <a:solidFill>
                  <a:schemeClr val="lt1"/>
                </a:solidFill>
              </a:defRPr>
            </a:lvl2pPr>
            <a:lvl3pPr>
              <a:defRPr lang="en-US" sz="1349" smtClean="0">
                <a:solidFill>
                  <a:schemeClr val="lt1"/>
                </a:solidFill>
              </a:defRPr>
            </a:lvl3pPr>
            <a:lvl4pPr>
              <a:defRPr lang="en-US" sz="1349" smtClean="0">
                <a:solidFill>
                  <a:schemeClr val="lt1"/>
                </a:solidFill>
              </a:defRPr>
            </a:lvl4pPr>
            <a:lvl5pPr>
              <a:defRPr lang="en-US" sz="1349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9822"/>
            <a:ext cx="4657246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99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788" indent="0" algn="ctr">
              <a:buNone/>
              <a:defRPr sz="1499"/>
            </a:lvl2pPr>
            <a:lvl3pPr marL="685577" indent="0" algn="ctr">
              <a:buNone/>
              <a:defRPr sz="1349"/>
            </a:lvl3pPr>
            <a:lvl4pPr marL="1028366" indent="0" algn="ctr">
              <a:buNone/>
              <a:defRPr sz="1199"/>
            </a:lvl4pPr>
            <a:lvl5pPr marL="1371155" indent="0" algn="ctr">
              <a:buNone/>
              <a:defRPr sz="1199"/>
            </a:lvl5pPr>
            <a:lvl6pPr marL="1713943" indent="0" algn="ctr">
              <a:buNone/>
              <a:defRPr sz="1199"/>
            </a:lvl6pPr>
            <a:lvl7pPr marL="2056731" indent="0" algn="ctr">
              <a:buNone/>
              <a:defRPr sz="1199"/>
            </a:lvl7pPr>
            <a:lvl8pPr marL="2399520" indent="0" algn="ctr">
              <a:buNone/>
              <a:defRPr sz="1199"/>
            </a:lvl8pPr>
            <a:lvl9pPr marL="2742308" indent="0" algn="ctr">
              <a:buNone/>
              <a:defRPr sz="1199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144372"/>
            <a:ext cx="4657245" cy="1615450"/>
          </a:xfrm>
        </p:spPr>
        <p:txBody>
          <a:bodyPr vert="horz"/>
          <a:lstStyle>
            <a:lvl1pPr>
              <a:lnSpc>
                <a:spcPct val="90000"/>
              </a:lnSpc>
              <a:defRPr sz="3599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4000" y="3340362"/>
            <a:ext cx="4657246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803679"/>
            <a:ext cx="4657246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6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7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836257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C2A27F-2924-479D-B651-D91EC9136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13360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C2A27F-2924-479D-B651-D91EC9136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144000" cy="5149589"/>
          </a:xfrm>
          <a:solidFill>
            <a:srgbClr val="CCCCCC"/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2700"/>
            <a:ext cx="8658000" cy="543745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49" smtClean="0">
                <a:solidFill>
                  <a:schemeClr val="lt1"/>
                </a:solidFill>
              </a:defRPr>
            </a:lvl2pPr>
            <a:lvl3pPr>
              <a:defRPr lang="en-US" sz="1349" smtClean="0">
                <a:solidFill>
                  <a:schemeClr val="lt1"/>
                </a:solidFill>
              </a:defRPr>
            </a:lvl3pPr>
            <a:lvl4pPr>
              <a:defRPr lang="en-US" sz="1349" smtClean="0">
                <a:solidFill>
                  <a:schemeClr val="lt1"/>
                </a:solidFill>
              </a:defRPr>
            </a:lvl4pPr>
            <a:lvl5pPr>
              <a:defRPr lang="en-US" sz="1349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41650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99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788" indent="0" algn="ctr">
              <a:buNone/>
              <a:defRPr sz="1499"/>
            </a:lvl2pPr>
            <a:lvl3pPr marL="685577" indent="0" algn="ctr">
              <a:buNone/>
              <a:defRPr sz="1349"/>
            </a:lvl3pPr>
            <a:lvl4pPr marL="1028366" indent="0" algn="ctr">
              <a:buNone/>
              <a:defRPr sz="1199"/>
            </a:lvl4pPr>
            <a:lvl5pPr marL="1371155" indent="0" algn="ctr">
              <a:buNone/>
              <a:defRPr sz="1199"/>
            </a:lvl5pPr>
            <a:lvl6pPr marL="1713943" indent="0" algn="ctr">
              <a:buNone/>
              <a:defRPr sz="1199"/>
            </a:lvl6pPr>
            <a:lvl7pPr marL="2056731" indent="0" algn="ctr">
              <a:buNone/>
              <a:defRPr sz="1199"/>
            </a:lvl7pPr>
            <a:lvl8pPr marL="2399520" indent="0" algn="ctr">
              <a:buNone/>
              <a:defRPr sz="1199"/>
            </a:lvl8pPr>
            <a:lvl9pPr marL="2742308" indent="0" algn="ctr">
              <a:buNone/>
              <a:defRPr sz="1199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4231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599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4000" y="3346675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809992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6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7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892362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1D24AA5-0DC2-4FE6-8E25-984F58B86D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111720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1D24AA5-0DC2-4FE6-8E25-984F58B86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9144000" cy="5149589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9144000" cy="5149589"/>
          </a:xfrm>
          <a:solidFill>
            <a:srgbClr val="333333"/>
          </a:solidFill>
        </p:spPr>
        <p:txBody>
          <a:bodyPr lIns="324000" tIns="576000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20" y="4442700"/>
            <a:ext cx="8658000" cy="543745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49" smtClean="0">
                <a:solidFill>
                  <a:schemeClr val="lt1"/>
                </a:solidFill>
              </a:defRPr>
            </a:lvl2pPr>
            <a:lvl3pPr>
              <a:defRPr lang="en-US" sz="1349" smtClean="0">
                <a:solidFill>
                  <a:schemeClr val="lt1"/>
                </a:solidFill>
              </a:defRPr>
            </a:lvl3pPr>
            <a:lvl4pPr>
              <a:defRPr lang="en-US" sz="1349" smtClean="0">
                <a:solidFill>
                  <a:schemeClr val="lt1"/>
                </a:solidFill>
              </a:defRPr>
            </a:lvl4pPr>
            <a:lvl5pPr>
              <a:defRPr lang="en-US" sz="1349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41650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99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342788" indent="0" algn="ctr">
              <a:buNone/>
              <a:defRPr sz="1499"/>
            </a:lvl2pPr>
            <a:lvl3pPr marL="685577" indent="0" algn="ctr">
              <a:buNone/>
              <a:defRPr sz="1349"/>
            </a:lvl3pPr>
            <a:lvl4pPr marL="1028366" indent="0" algn="ctr">
              <a:buNone/>
              <a:defRPr sz="1199"/>
            </a:lvl4pPr>
            <a:lvl5pPr marL="1371155" indent="0" algn="ctr">
              <a:buNone/>
              <a:defRPr sz="1199"/>
            </a:lvl5pPr>
            <a:lvl6pPr marL="1713943" indent="0" algn="ctr">
              <a:buNone/>
              <a:defRPr sz="1199"/>
            </a:lvl6pPr>
            <a:lvl7pPr marL="2056731" indent="0" algn="ctr">
              <a:buNone/>
              <a:defRPr sz="1199"/>
            </a:lvl7pPr>
            <a:lvl8pPr marL="2399520" indent="0" algn="ctr">
              <a:buNone/>
              <a:defRPr sz="1199"/>
            </a:lvl8pPr>
            <a:lvl9pPr marL="2742308" indent="0" algn="ctr">
              <a:buNone/>
              <a:defRPr sz="1199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4231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599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4000" y="3346675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3809992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6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7" y="4604747"/>
            <a:ext cx="1493044" cy="226288"/>
          </a:xfr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40993737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8612FC-7EC7-4F78-9142-9CE3873B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41511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8612FC-7EC7-4F78-9142-9CE3873B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01860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99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788" indent="0" algn="ctr">
              <a:buNone/>
              <a:defRPr sz="1499"/>
            </a:lvl2pPr>
            <a:lvl3pPr marL="685577" indent="0" algn="ctr">
              <a:buNone/>
              <a:defRPr sz="1349"/>
            </a:lvl3pPr>
            <a:lvl4pPr marL="1028366" indent="0" algn="ctr">
              <a:buNone/>
              <a:defRPr sz="1199"/>
            </a:lvl4pPr>
            <a:lvl5pPr marL="1371155" indent="0" algn="ctr">
              <a:buNone/>
              <a:defRPr sz="1199"/>
            </a:lvl5pPr>
            <a:lvl6pPr marL="1713943" indent="0" algn="ctr">
              <a:buNone/>
              <a:defRPr sz="1199"/>
            </a:lvl6pPr>
            <a:lvl7pPr marL="2056731" indent="0" algn="ctr">
              <a:buNone/>
              <a:defRPr sz="1199"/>
            </a:lvl7pPr>
            <a:lvl8pPr marL="2399520" indent="0" algn="ctr">
              <a:buNone/>
              <a:defRPr sz="1199"/>
            </a:lvl8pPr>
            <a:lvl9pPr marL="2742308" indent="0" algn="ctr">
              <a:buNone/>
              <a:defRPr sz="1199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519273"/>
            <a:ext cx="8495999" cy="1499336"/>
          </a:xfrm>
        </p:spPr>
        <p:txBody>
          <a:bodyPr vert="horz"/>
          <a:lstStyle>
            <a:lvl1pPr>
              <a:lnSpc>
                <a:spcPct val="90000"/>
              </a:lnSpc>
              <a:defRPr sz="3599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9CDBD0B-DFF7-44CC-8697-57CE14386AAE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8" tIns="35989" rIns="71978" bIns="35989" rtlCol="0" anchor="t">
            <a:noAutofit/>
          </a:bodyPr>
          <a:lstStyle/>
          <a:p>
            <a:pPr algn="l"/>
            <a:endParaRPr lang="en-US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655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CHIFFRES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0155AD6-D097-4FC8-B045-0F81D3EF43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D691D98-EDAA-4683-9FEA-0B19E06CB0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F8E95111-64FD-425D-AFA0-0724500516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51128" y="1751581"/>
            <a:ext cx="1526399" cy="45354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5" name="Espace réservé du texte 22">
            <a:extLst>
              <a:ext uri="{FF2B5EF4-FFF2-40B4-BE49-F238E27FC236}">
                <a16:creationId xmlns:a16="http://schemas.microsoft.com/office/drawing/2014/main" id="{62D4D4DB-F4C1-44ED-9364-0DC1B841EB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55241" y="1754247"/>
            <a:ext cx="1526399" cy="45354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6" name="Espace réservé du texte 22">
            <a:extLst>
              <a:ext uri="{FF2B5EF4-FFF2-40B4-BE49-F238E27FC236}">
                <a16:creationId xmlns:a16="http://schemas.microsoft.com/office/drawing/2014/main" id="{5E24C276-D529-4E97-A2C1-EFE8A026D5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21" y="1879825"/>
            <a:ext cx="1624223" cy="45354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0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AB7CFDB5-5406-4E31-8FCF-ED2B7483CF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51128" y="2138905"/>
            <a:ext cx="1526399" cy="36128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000" spc="60" baseline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0" name="Espace réservé du texte 26">
            <a:extLst>
              <a:ext uri="{FF2B5EF4-FFF2-40B4-BE49-F238E27FC236}">
                <a16:creationId xmlns:a16="http://schemas.microsoft.com/office/drawing/2014/main" id="{0B1763CF-210B-45A1-B979-08656413A3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55239" y="2138905"/>
            <a:ext cx="1526399" cy="36128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000" spc="60" baseline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1" name="Espace réservé du texte 26">
            <a:extLst>
              <a:ext uri="{FF2B5EF4-FFF2-40B4-BE49-F238E27FC236}">
                <a16:creationId xmlns:a16="http://schemas.microsoft.com/office/drawing/2014/main" id="{46A6368B-FDE3-4D0C-A232-030BFDF25B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54432" y="2264090"/>
            <a:ext cx="1526399" cy="361283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1300"/>
              </a:lnSpc>
              <a:spcBef>
                <a:spcPts val="0"/>
              </a:spcBef>
              <a:buNone/>
              <a:defRPr sz="1000" spc="60" baseline="0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731C760A-8728-44C1-8AE1-32E45FE9785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883" y="3207100"/>
            <a:ext cx="8193522" cy="12287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>
                <a:latin typeface="Delivery" panose="020F0503020204020204" pitchFamily="34" charset="0"/>
              </a:defRPr>
            </a:lvl1pPr>
            <a:lvl2pPr marL="0" indent="0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None/>
              <a:defRPr sz="1500" b="1">
                <a:latin typeface="Delivery" panose="020F0503020204020204" pitchFamily="34" charset="0"/>
              </a:defRPr>
            </a:lvl2pPr>
          </a:lstStyle>
          <a:p>
            <a:pPr lvl="0"/>
            <a:r>
              <a:rPr lang="fr-FR"/>
              <a:t>Texte 4</a:t>
            </a:r>
          </a:p>
          <a:p>
            <a:pPr lvl="1"/>
            <a:r>
              <a:rPr lang="fr-FR"/>
              <a:t>Texte 4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7BBEDBB-C029-4E59-B94C-493449C36C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17749317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EA131F-B590-42CD-A745-07D6F8D595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214116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EA131F-B590-42CD-A745-07D6F8D59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59822"/>
            <a:ext cx="4644723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799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788" indent="0" algn="ctr">
              <a:buNone/>
              <a:defRPr sz="1499"/>
            </a:lvl2pPr>
            <a:lvl3pPr marL="685577" indent="0" algn="ctr">
              <a:buNone/>
              <a:defRPr sz="1349"/>
            </a:lvl3pPr>
            <a:lvl4pPr marL="1028366" indent="0" algn="ctr">
              <a:buNone/>
              <a:defRPr sz="1199"/>
            </a:lvl4pPr>
            <a:lvl5pPr marL="1371155" indent="0" algn="ctr">
              <a:buNone/>
              <a:defRPr sz="1199"/>
            </a:lvl5pPr>
            <a:lvl6pPr marL="1713943" indent="0" algn="ctr">
              <a:buNone/>
              <a:defRPr sz="1199"/>
            </a:lvl6pPr>
            <a:lvl7pPr marL="2056731" indent="0" algn="ctr">
              <a:buNone/>
              <a:defRPr sz="1199"/>
            </a:lvl7pPr>
            <a:lvl8pPr marL="2399520" indent="0" algn="ctr">
              <a:buNone/>
              <a:defRPr sz="1199"/>
            </a:lvl8pPr>
            <a:lvl9pPr marL="2742308" indent="0" algn="ctr">
              <a:buNone/>
              <a:defRPr sz="1199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60485"/>
            <a:ext cx="4644723" cy="1499336"/>
          </a:xfrm>
        </p:spPr>
        <p:txBody>
          <a:bodyPr vert="horz"/>
          <a:lstStyle>
            <a:lvl1pPr>
              <a:lnSpc>
                <a:spcPct val="90000"/>
              </a:lnSpc>
              <a:defRPr sz="3599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8" y="1"/>
            <a:ext cx="3851275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A043628-020F-4CBE-8642-E56C38AABECE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8" tIns="35989" rIns="71978" bIns="35989" rtlCol="0" anchor="t">
            <a:noAutofit/>
          </a:bodyPr>
          <a:lstStyle/>
          <a:p>
            <a:pPr algn="l"/>
            <a:endParaRPr lang="en-US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9208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2E7FEBC-679B-4A25-9711-F030EF414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132251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2E7FEBC-679B-4A25-9711-F030EF414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2" y="1151293"/>
            <a:ext cx="2722563" cy="3531690"/>
          </a:xfrm>
        </p:spPr>
        <p:txBody>
          <a:bodyPr/>
          <a:lstStyle>
            <a:lvl1pPr marL="251918" indent="-251918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1918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40" y="1151293"/>
            <a:ext cx="2722564" cy="3531690"/>
          </a:xfrm>
        </p:spPr>
        <p:txBody>
          <a:bodyPr/>
          <a:lstStyle>
            <a:lvl1pPr marL="251918" indent="-251918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1918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57374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56978E1-A54A-475A-BBCA-13033CF6D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886901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56978E1-A54A-475A-BBCA-13033CF6D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2" y="1151293"/>
            <a:ext cx="8495999" cy="352908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199"/>
              <a:t>Bullet number, Delivery, 12 </a:t>
            </a:r>
            <a:r>
              <a:rPr lang="en-US" sz="1199" err="1"/>
              <a:t>pt</a:t>
            </a:r>
            <a:r>
              <a:rPr lang="en-US" sz="1199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747"/>
            <a:ext cx="4572000" cy="369204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1799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332545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08DFF74-E7AA-421A-9EC2-6440CF4931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72623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08DFF74-E7AA-421A-9EC2-6440CF4931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6821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5A2E199-3FA1-4488-85FF-FF5378112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48363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5A2E199-3FA1-4488-85FF-FF5378112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165450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4550" y="1151293"/>
            <a:ext cx="4165450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350004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2A450B-71B7-4AC9-BBAE-99C0031723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444969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2A450B-71B7-4AC9-BBAE-99C0031723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1" y="1151293"/>
            <a:ext cx="4165450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54550" y="1151293"/>
            <a:ext cx="4165450" cy="3531690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pt</a:t>
            </a:r>
          </a:p>
        </p:txBody>
      </p:sp>
    </p:spTree>
    <p:extLst>
      <p:ext uri="{BB962C8B-B14F-4D97-AF65-F5344CB8AC3E}">
        <p14:creationId xmlns:p14="http://schemas.microsoft.com/office/powerpoint/2010/main" val="290050531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92726" y="0"/>
            <a:ext cx="3851274" cy="5145088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18781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799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2" y="1151293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385283"/>
            <a:ext cx="4644725" cy="494103"/>
          </a:xfrm>
        </p:spPr>
        <p:txBody>
          <a:bodyPr vert="horz"/>
          <a:lstStyle/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BC2C23-B31E-4571-9F4D-45F827F20E7A}"/>
              </a:ext>
            </a:extLst>
          </p:cNvPr>
          <p:cNvSpPr txBox="1"/>
          <p:nvPr userDrawn="1"/>
        </p:nvSpPr>
        <p:spPr bwMode="gray">
          <a:xfrm>
            <a:off x="8441533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41549393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5088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13375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799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2" y="1151293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385283"/>
            <a:ext cx="4644725" cy="494103"/>
          </a:xfrm>
        </p:spPr>
        <p:txBody>
          <a:bodyPr vert="horz"/>
          <a:lstStyle/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0DF77F-6B55-403B-8081-E8A719202D02}"/>
              </a:ext>
            </a:extLst>
          </p:cNvPr>
          <p:cNvSpPr txBox="1"/>
          <p:nvPr userDrawn="1"/>
        </p:nvSpPr>
        <p:spPr bwMode="gray">
          <a:xfrm>
            <a:off x="8441533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49713186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7471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5088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799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2" y="1151293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385283"/>
            <a:ext cx="4644725" cy="494103"/>
          </a:xfrm>
        </p:spPr>
        <p:txBody>
          <a:bodyPr vert="horz"/>
          <a:lstStyle/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BE0FF7-A32F-416E-87C3-56F9730D0A7C}"/>
              </a:ext>
            </a:extLst>
          </p:cNvPr>
          <p:cNvSpPr txBox="1"/>
          <p:nvPr userDrawn="1"/>
        </p:nvSpPr>
        <p:spPr bwMode="gray">
          <a:xfrm>
            <a:off x="8441533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31819757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7471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92726" y="0"/>
            <a:ext cx="3851274" cy="5145088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9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1799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24002" y="1151293"/>
            <a:ext cx="4644724" cy="353169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385283"/>
            <a:ext cx="4644725" cy="494103"/>
          </a:xfrm>
        </p:spPr>
        <p:txBody>
          <a:bodyPr vert="horz"/>
          <a:lstStyle/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BE0FF7-A32F-416E-87C3-56F9730D0A7C}"/>
              </a:ext>
            </a:extLst>
          </p:cNvPr>
          <p:cNvSpPr txBox="1"/>
          <p:nvPr userDrawn="1"/>
        </p:nvSpPr>
        <p:spPr bwMode="gray">
          <a:xfrm>
            <a:off x="8441533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13181975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HL-C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Une image contenant texte, signe, clipart&#10;&#10;Description générée automatiquement">
            <a:extLst>
              <a:ext uri="{FF2B5EF4-FFF2-40B4-BE49-F238E27FC236}">
                <a16:creationId xmlns:a16="http://schemas.microsoft.com/office/drawing/2014/main" id="{B33C5322-AF43-4B18-8079-B9DAA5846F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4007" y="4598445"/>
            <a:ext cx="933686" cy="191956"/>
          </a:xfrm>
          <a:prstGeom prst="rect">
            <a:avLst/>
          </a:prstGeom>
        </p:spPr>
      </p:pic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68DA27CF-15DD-4226-A21B-E783FEC92339}"/>
              </a:ext>
            </a:extLst>
          </p:cNvPr>
          <p:cNvCxnSpPr/>
          <p:nvPr userDrawn="1"/>
        </p:nvCxnSpPr>
        <p:spPr>
          <a:xfrm>
            <a:off x="456307" y="4628927"/>
            <a:ext cx="7032797" cy="0"/>
          </a:xfrm>
          <a:prstGeom prst="line">
            <a:avLst/>
          </a:prstGeom>
          <a:ln w="3175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1F5E3D6-9C0B-483B-B54D-C04E6EF73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235" y="400612"/>
            <a:ext cx="738731" cy="20188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>
                <a:solidFill>
                  <a:srgbClr val="D40511"/>
                </a:solidFill>
                <a:highlight>
                  <a:srgbClr val="FFCC00"/>
                </a:highlight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PARTIE 01</a:t>
            </a:r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id="{8BFB31CC-4130-41B3-B6F9-56EBA69235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3883" y="581717"/>
            <a:ext cx="5383922" cy="3995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3100"/>
              </a:lnSpc>
              <a:spcBef>
                <a:spcPts val="0"/>
              </a:spcBef>
              <a:buNone/>
              <a:defRPr sz="35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itre 2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B476A6D3-75B1-4C60-88AC-514A4D716B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760079" y="1052513"/>
            <a:ext cx="5383922" cy="3381375"/>
          </a:xfrm>
          <a:prstGeom prst="rect">
            <a:avLst/>
          </a:prstGeom>
        </p:spPr>
        <p:txBody>
          <a:bodyPr anchor="ctr" anchorCtr="1"/>
          <a:lstStyle/>
          <a:p>
            <a:endParaRPr lang="fr-FR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B39D1C74-B59F-4D68-98C6-514C36C81E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71120" y="1459663"/>
            <a:ext cx="1463530" cy="2987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1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 1</a:t>
            </a:r>
          </a:p>
        </p:txBody>
      </p:sp>
      <p:sp>
        <p:nvSpPr>
          <p:cNvPr id="31" name="Espace réservé du texte 29">
            <a:extLst>
              <a:ext uri="{FF2B5EF4-FFF2-40B4-BE49-F238E27FC236}">
                <a16:creationId xmlns:a16="http://schemas.microsoft.com/office/drawing/2014/main" id="{E187A198-6B32-4DD0-9CD4-AA0183D40D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7176" y="2235919"/>
            <a:ext cx="1463530" cy="2987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1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 1</a:t>
            </a:r>
          </a:p>
        </p:txBody>
      </p:sp>
      <p:sp>
        <p:nvSpPr>
          <p:cNvPr id="32" name="Espace réservé du texte 29">
            <a:extLst>
              <a:ext uri="{FF2B5EF4-FFF2-40B4-BE49-F238E27FC236}">
                <a16:creationId xmlns:a16="http://schemas.microsoft.com/office/drawing/2014/main" id="{39C525A8-2CD8-4254-943B-651E0E9864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176" y="3012175"/>
            <a:ext cx="1463530" cy="2987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1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 1</a:t>
            </a:r>
          </a:p>
        </p:txBody>
      </p:sp>
      <p:sp>
        <p:nvSpPr>
          <p:cNvPr id="33" name="Espace réservé du texte 29">
            <a:extLst>
              <a:ext uri="{FF2B5EF4-FFF2-40B4-BE49-F238E27FC236}">
                <a16:creationId xmlns:a16="http://schemas.microsoft.com/office/drawing/2014/main" id="{E9259683-B849-460E-A5EF-AECF03356B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1258" y="3782940"/>
            <a:ext cx="1463530" cy="2987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1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 1</a:t>
            </a:r>
          </a:p>
        </p:txBody>
      </p:sp>
      <p:sp>
        <p:nvSpPr>
          <p:cNvPr id="34" name="Espace réservé du texte 29">
            <a:extLst>
              <a:ext uri="{FF2B5EF4-FFF2-40B4-BE49-F238E27FC236}">
                <a16:creationId xmlns:a16="http://schemas.microsoft.com/office/drawing/2014/main" id="{E2EEFD4E-936E-4C82-BEBC-6AD49766E9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3916" y="2373948"/>
            <a:ext cx="1463530" cy="2987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1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 1</a:t>
            </a:r>
          </a:p>
        </p:txBody>
      </p:sp>
      <p:sp>
        <p:nvSpPr>
          <p:cNvPr id="35" name="Espace réservé du texte 29">
            <a:extLst>
              <a:ext uri="{FF2B5EF4-FFF2-40B4-BE49-F238E27FC236}">
                <a16:creationId xmlns:a16="http://schemas.microsoft.com/office/drawing/2014/main" id="{0FE90290-EAB3-49DC-B88D-3938379E9B8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07901" y="3012174"/>
            <a:ext cx="1463530" cy="2987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="1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Chiffre 1</a:t>
            </a:r>
          </a:p>
        </p:txBody>
      </p:sp>
      <p:sp>
        <p:nvSpPr>
          <p:cNvPr id="36" name="Espace réservé du texte 29">
            <a:extLst>
              <a:ext uri="{FF2B5EF4-FFF2-40B4-BE49-F238E27FC236}">
                <a16:creationId xmlns:a16="http://schemas.microsoft.com/office/drawing/2014/main" id="{BD18F8E7-7534-4227-A68B-65E764F75B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7175" y="1761952"/>
            <a:ext cx="1809769" cy="29870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 b="0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7" name="Espace réservé du texte 29">
            <a:extLst>
              <a:ext uri="{FF2B5EF4-FFF2-40B4-BE49-F238E27FC236}">
                <a16:creationId xmlns:a16="http://schemas.microsoft.com/office/drawing/2014/main" id="{D5E6F285-ABDE-4244-A928-C26AED2755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826" y="2541516"/>
            <a:ext cx="1809769" cy="29870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 b="0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8" name="Espace réservé du texte 29">
            <a:extLst>
              <a:ext uri="{FF2B5EF4-FFF2-40B4-BE49-F238E27FC236}">
                <a16:creationId xmlns:a16="http://schemas.microsoft.com/office/drawing/2014/main" id="{9C050D39-CD41-4505-9047-2159E0656A0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71388" y="3318565"/>
            <a:ext cx="1809769" cy="29870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 b="0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39" name="Espace réservé du texte 29">
            <a:extLst>
              <a:ext uri="{FF2B5EF4-FFF2-40B4-BE49-F238E27FC236}">
                <a16:creationId xmlns:a16="http://schemas.microsoft.com/office/drawing/2014/main" id="{E141A36B-D215-4EE9-A5FB-9077B32597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71388" y="4099204"/>
            <a:ext cx="1809769" cy="29870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 b="0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40" name="Espace réservé du texte 29">
            <a:extLst>
              <a:ext uri="{FF2B5EF4-FFF2-40B4-BE49-F238E27FC236}">
                <a16:creationId xmlns:a16="http://schemas.microsoft.com/office/drawing/2014/main" id="{06215FF8-0287-42A8-A947-B826E166EFF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12519" y="2680681"/>
            <a:ext cx="1809769" cy="29870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 b="0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</p:txBody>
      </p:sp>
      <p:sp>
        <p:nvSpPr>
          <p:cNvPr id="41" name="Espace réservé du texte 29">
            <a:extLst>
              <a:ext uri="{FF2B5EF4-FFF2-40B4-BE49-F238E27FC236}">
                <a16:creationId xmlns:a16="http://schemas.microsoft.com/office/drawing/2014/main" id="{F60666AF-FC51-4B6C-8227-72C2DBC9AA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12519" y="3310223"/>
            <a:ext cx="1809769" cy="1087688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000" b="0">
                <a:latin typeface="Delivery" panose="020F0503020204020204" pitchFamily="34" charset="0"/>
              </a:defRPr>
            </a:lvl1pPr>
          </a:lstStyle>
          <a:p>
            <a:pPr lvl="0"/>
            <a:r>
              <a:rPr lang="fr-FR"/>
              <a:t>TEXTE 1</a:t>
            </a:r>
          </a:p>
          <a:p>
            <a:pPr lvl="0"/>
            <a:endParaRPr lang="fr-FR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88BEABBA-0B55-442B-9F1E-8E1F55C7F4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196884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  <p15:guide id="3" orient="horz" pos="1190">
          <p15:clr>
            <a:srgbClr val="FBAE40"/>
          </p15:clr>
        </p15:guide>
        <p15:guide id="4" pos="2980">
          <p15:clr>
            <a:srgbClr val="FBAE40"/>
          </p15:clr>
        </p15:guide>
        <p15:guide id="5" pos="5488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73FA71-6ACF-485E-901C-63ACAC87D6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586021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73FA71-6ACF-485E-901C-63ACAC87D6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1293"/>
            <a:ext cx="4165450" cy="353169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1293"/>
            <a:ext cx="4165450" cy="353169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8452918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11968E-83DB-4DB3-A9B6-D97DBFE6C8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8853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11968E-83DB-4DB3-A9B6-D97DBFE6C8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2" y="1151293"/>
            <a:ext cx="8495999" cy="352908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199"/>
            </a:lvl6pPr>
            <a:lvl7pPr>
              <a:defRPr sz="1199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6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71C7BE-1372-4E90-A4F7-054FC803EECD}"/>
              </a:ext>
            </a:extLst>
          </p:cNvPr>
          <p:cNvSpPr txBox="1"/>
          <p:nvPr userDrawn="1"/>
        </p:nvSpPr>
        <p:spPr bwMode="gray">
          <a:xfrm>
            <a:off x="8441533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350993785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74EA69-D725-4DCC-983D-72C369C57A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65047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74EA69-D725-4DCC-983D-72C369C57A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5088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6855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24002" y="1151293"/>
            <a:ext cx="8495999" cy="352908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6855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None/>
              <a:tabLst/>
              <a:defRPr sz="1199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199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6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979E1A1-AB4B-4AA3-88FA-15FA29977D0C}"/>
              </a:ext>
            </a:extLst>
          </p:cNvPr>
          <p:cNvSpPr txBox="1"/>
          <p:nvPr userDrawn="1"/>
        </p:nvSpPr>
        <p:spPr bwMode="gray">
          <a:xfrm>
            <a:off x="8441533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>
                <a:solidFill>
                  <a:schemeClr val="bg1"/>
                </a:solidFill>
              </a:rPr>
              <a:pPr lvl="0"/>
              <a:t>‹N°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403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676EEB-DCAF-45BE-86D2-85F208300B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156045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676EEB-DCAF-45BE-86D2-85F208300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9144000" cy="5145088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Double headline with one or two lines, Delivery Bold, 18 pt</a:t>
            </a:r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6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EE03B5-6697-41B7-903F-F80FE440BC6B}"/>
              </a:ext>
            </a:extLst>
          </p:cNvPr>
          <p:cNvSpPr txBox="1"/>
          <p:nvPr userDrawn="1"/>
        </p:nvSpPr>
        <p:spPr bwMode="gray">
          <a:xfrm>
            <a:off x="8441533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241709439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9954BD7-0173-42FA-A1F6-CC93466536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57752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9954BD7-0173-42FA-A1F6-CC93466536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9" y="1963802"/>
            <a:ext cx="5233987" cy="897895"/>
          </a:xfrm>
        </p:spPr>
        <p:txBody>
          <a:bodyPr>
            <a:noAutofit/>
          </a:bodyPr>
          <a:lstStyle>
            <a:lvl1pPr>
              <a:lnSpc>
                <a:spcPts val="2999"/>
              </a:lnSpc>
              <a:spcAft>
                <a:spcPts val="0"/>
              </a:spcAft>
              <a:defRPr sz="2499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82CE2E-4208-4E71-B584-F95BB626E1F9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8" tIns="35989" rIns="71978" bIns="35989" rtlCol="0" anchor="t">
            <a:noAutofit/>
          </a:bodyPr>
          <a:lstStyle/>
          <a:p>
            <a:pPr algn="l"/>
            <a:endParaRPr lang="en-US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1219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C574BF-AAB5-4CD5-8232-0EBD4B9DDF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358874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66" imgH="165" progId="TCLayout.ActiveDocument.1">
                  <p:embed/>
                </p:oleObj>
              </mc:Choice>
              <mc:Fallback>
                <p:oleObj name="think-cell Slide" r:id="rId3" imgW="166" imgH="16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C574BF-AAB5-4CD5-8232-0EBD4B9DDF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5" y="1485637"/>
            <a:ext cx="3134163" cy="5538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599" b="0" cap="all" baseline="0" noProof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93B1CF-27E6-46E4-AAB9-9F698C599ECF}"/>
              </a:ext>
            </a:extLst>
          </p:cNvPr>
          <p:cNvSpPr/>
          <p:nvPr userDrawn="1"/>
        </p:nvSpPr>
        <p:spPr>
          <a:xfrm>
            <a:off x="260194" y="4744450"/>
            <a:ext cx="4140000" cy="197038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8" tIns="35989" rIns="71978" bIns="35989" rtlCol="0" anchor="t">
            <a:noAutofit/>
          </a:bodyPr>
          <a:lstStyle/>
          <a:p>
            <a:pPr algn="l"/>
            <a:endParaRPr lang="en-US" sz="1199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26776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8D3552-E75E-450B-A324-C21874DD62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153103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8D3552-E75E-450B-A324-C21874DD6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522E6B0-86DF-434B-83C9-FE5A9297B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Delivery" panose="020F0503020204020204" charset="0"/>
                <a:sym typeface="Delivery" panose="020F050302020402020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0EABDB-6F82-4750-B376-946F488C03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3850" y="1151293"/>
            <a:ext cx="8496300" cy="3531690"/>
          </a:xfrm>
        </p:spPr>
        <p:txBody>
          <a:bodyPr/>
          <a:lstStyle>
            <a:lvl1pPr>
              <a:defRPr>
                <a:latin typeface="Delivery" panose="020F0503020204020204" charset="0"/>
                <a:sym typeface="Delivery" panose="020F0503020204020204" charset="0"/>
              </a:defRPr>
            </a:lvl1pPr>
            <a:lvl2pPr>
              <a:defRPr>
                <a:latin typeface="Delivery" panose="020F0503020204020204" charset="0"/>
                <a:sym typeface="Delivery" panose="020F0503020204020204" charset="0"/>
              </a:defRPr>
            </a:lvl2pPr>
            <a:lvl3pPr>
              <a:defRPr>
                <a:latin typeface="Delivery" panose="020F0503020204020204" charset="0"/>
                <a:sym typeface="Delivery" panose="020F0503020204020204" charset="0"/>
              </a:defRPr>
            </a:lvl3pPr>
            <a:lvl4pPr>
              <a:defRPr>
                <a:latin typeface="Delivery" panose="020F0503020204020204" charset="0"/>
                <a:sym typeface="Delivery" panose="020F050302020402020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774906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018609"/>
            <a:ext cx="8495999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519273"/>
            <a:ext cx="8495999" cy="1499336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078239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3999" y="2614922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4747"/>
            <a:ext cx="1493044" cy="226288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24663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2" y="2759821"/>
            <a:ext cx="4644723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260485"/>
            <a:ext cx="4644723" cy="1499336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0362"/>
            <a:ext cx="4644724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3679"/>
            <a:ext cx="4644724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4747"/>
            <a:ext cx="1493044" cy="226288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297775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9589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0019" y="519274"/>
            <a:ext cx="4802400" cy="4468979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9821"/>
            <a:ext cx="4657246" cy="50337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2" y="1144372"/>
            <a:ext cx="4657245" cy="1615450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0362"/>
            <a:ext cx="4657246" cy="40023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3679"/>
            <a:ext cx="4657246" cy="197038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55"/>
            <a:ext cx="2736000" cy="144044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6706" y="4604747"/>
            <a:ext cx="1493044" cy="226288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500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image" Target="../media/image70.emf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29" Type="http://schemas.openxmlformats.org/officeDocument/2006/relationships/image" Target="../media/image70.emf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oleObject" Target="../embeddings/oleObject37.bin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tags" Target="../tags/tag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DEBF58B-E19A-44DF-9B43-1BCB6A81B2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74126"/>
            <a:ext cx="3752148" cy="195355"/>
          </a:xfrm>
          <a:prstGeom prst="rect">
            <a:avLst/>
          </a:prstGeom>
        </p:spPr>
        <p:txBody>
          <a:bodyPr/>
          <a:lstStyle>
            <a:lvl1pPr>
              <a:defRPr sz="800" b="1">
                <a:solidFill>
                  <a:srgbClr val="D40511"/>
                </a:solidFill>
                <a:latin typeface="Delivery" panose="020F0503020204020204" pitchFamily="34" charset="0"/>
              </a:defRPr>
            </a:lvl1pPr>
          </a:lstStyle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‹N°›</a:t>
            </a:fld>
            <a:r>
              <a:rPr lang="fr-FR"/>
              <a:t> - DDI CONCURRENCE</a:t>
            </a:r>
          </a:p>
        </p:txBody>
      </p:sp>
      <p:sp>
        <p:nvSpPr>
          <p:cNvPr id="2" name="MSIPCMContentMarking" descr="{&quot;HashCode&quot;:-938250575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95D67ABC-3C4B-4B29-AE52-03C4B3212EB5}"/>
              </a:ext>
            </a:extLst>
          </p:cNvPr>
          <p:cNvSpPr txBox="1"/>
          <p:nvPr userDrawn="1"/>
        </p:nvSpPr>
        <p:spPr>
          <a:xfrm>
            <a:off x="0" y="0"/>
            <a:ext cx="1665012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747474"/>
                </a:solidFill>
                <a:latin typeface="delivery" panose="020F0503020204020204" pitchFamily="34" charset="0"/>
              </a:rPr>
              <a:t>UNCLASSIFIED (PUBLIC)</a:t>
            </a:r>
          </a:p>
        </p:txBody>
      </p:sp>
    </p:spTree>
    <p:extLst>
      <p:ext uri="{BB962C8B-B14F-4D97-AF65-F5344CB8AC3E}">
        <p14:creationId xmlns:p14="http://schemas.microsoft.com/office/powerpoint/2010/main" val="1496816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84" r:id="rId4"/>
    <p:sldLayoutId id="2147483703" r:id="rId5"/>
    <p:sldLayoutId id="2147483683" r:id="rId6"/>
    <p:sldLayoutId id="2147483704" r:id="rId7"/>
    <p:sldLayoutId id="2147483702" r:id="rId8"/>
    <p:sldLayoutId id="2147483685" r:id="rId9"/>
    <p:sldLayoutId id="2147483686" r:id="rId10"/>
    <p:sldLayoutId id="2147483696" r:id="rId11"/>
    <p:sldLayoutId id="2147483687" r:id="rId12"/>
    <p:sldLayoutId id="2147483705" r:id="rId13"/>
    <p:sldLayoutId id="2147483688" r:id="rId14"/>
    <p:sldLayoutId id="2147483689" r:id="rId15"/>
    <p:sldLayoutId id="2147483692" r:id="rId16"/>
    <p:sldLayoutId id="2147483693" r:id="rId17"/>
    <p:sldLayoutId id="2147483697" r:id="rId18"/>
    <p:sldLayoutId id="2147483694" r:id="rId19"/>
    <p:sldLayoutId id="2147483701" r:id="rId20"/>
    <p:sldLayoutId id="2147483695" r:id="rId21"/>
    <p:sldLayoutId id="2147483698" r:id="rId22"/>
    <p:sldLayoutId id="2147483682" r:id="rId23"/>
    <p:sldLayoutId id="2147483690" r:id="rId24"/>
    <p:sldLayoutId id="2147483679" r:id="rId25"/>
    <p:sldLayoutId id="2147483678" r:id="rId26"/>
    <p:sldLayoutId id="2147483677" r:id="rId27"/>
    <p:sldLayoutId id="2147483699" r:id="rId28"/>
    <p:sldLayoutId id="2147483700" r:id="rId29"/>
    <p:sldLayoutId id="2147483676" r:id="rId30"/>
    <p:sldLayoutId id="2147483681" r:id="rId31"/>
    <p:sldLayoutId id="2147483680" r:id="rId32"/>
    <p:sldLayoutId id="2147483706" r:id="rId33"/>
    <p:sldLayoutId id="2147483671" r:id="rId34"/>
    <p:sldLayoutId id="2147483824" r:id="rId35"/>
    <p:sldLayoutId id="2147483825" r:id="rId36"/>
    <p:sldLayoutId id="2147483826" r:id="rId37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749D10C-54F1-42F3-A98D-E0677011A5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824721408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47" imgH="348" progId="TCLayout.ActiveDocument.1">
                  <p:embed/>
                </p:oleObj>
              </mc:Choice>
              <mc:Fallback>
                <p:oleObj name="think-cell Slide" r:id="rId3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749D10C-54F1-42F3-A98D-E0677011A5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324000" y="116155"/>
            <a:ext cx="2736000" cy="14404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800" b="1">
                <a:solidFill>
                  <a:schemeClr val="accent4"/>
                </a:solidFill>
              </a:rPr>
              <a:t>CONFIDENTIAL</a:t>
            </a:r>
            <a:endParaRPr lang="en-US" sz="800" b="1" i="0" u="none" strike="noStrike" cap="all" baseline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1" y="1151293"/>
            <a:ext cx="8495999" cy="35290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200"/>
              <a:t>Paragraph Headline, Delivery Bold, 12 </a:t>
            </a:r>
            <a:r>
              <a:rPr lang="en-US" sz="1200" err="1"/>
              <a:t>pt</a:t>
            </a:r>
            <a:endParaRPr lang="en-US" sz="1200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  <a:endParaRPr lang="en-US" sz="1200"/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1" y="385282"/>
            <a:ext cx="8495999" cy="4941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91DCB0-690F-4A8F-8B38-572A97732198}"/>
              </a:ext>
            </a:extLst>
          </p:cNvPr>
          <p:cNvSpPr txBox="1"/>
          <p:nvPr userDrawn="1"/>
        </p:nvSpPr>
        <p:spPr bwMode="gray">
          <a:xfrm>
            <a:off x="323999" y="4805466"/>
            <a:ext cx="8117532" cy="13854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en-US" sz="900"/>
              <a:t>DHL Express | Final report MI-2022 | France | May 202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DB2D86-F0A4-4BC1-B55F-745CFC1A455E}"/>
              </a:ext>
            </a:extLst>
          </p:cNvPr>
          <p:cNvSpPr txBox="1"/>
          <p:nvPr userDrawn="1"/>
        </p:nvSpPr>
        <p:spPr bwMode="gray">
          <a:xfrm>
            <a:off x="8441532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  <p:sp>
        <p:nvSpPr>
          <p:cNvPr id="2" name="MSIPCMContentMarking" descr="{&quot;HashCode&quot;:-938250575,&quot;Placement&quot;:&quot;Header&quot;,&quot;Top&quot;:0.0,&quot;Left&quot;:0.0,&quot;SlideWidth&quot;:720,&quot;SlideHeight&quot;:405}"/>
          <p:cNvSpPr txBox="1"/>
          <p:nvPr userDrawn="1"/>
        </p:nvSpPr>
        <p:spPr>
          <a:xfrm>
            <a:off x="0" y="0"/>
            <a:ext cx="1665012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747474"/>
                </a:solidFill>
                <a:latin typeface="delivery" panose="020F0503020204020204" pitchFamily="34" charset="0"/>
              </a:rPr>
              <a:t>UNCLASSIFIED (PUBLIC)</a:t>
            </a:r>
            <a:endParaRPr lang="fr-FR" sz="100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477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71" r:id="rId25"/>
    <p:sldLayoutId id="2147483725" r:id="rId26"/>
    <p:sldLayoutId id="2147483772" r:id="rId27"/>
    <p:sldLayoutId id="2147483773" r:id="rId28"/>
    <p:sldLayoutId id="2147483791" r:id="rId29"/>
    <p:sldLayoutId id="2147483796" r:id="rId30"/>
    <p:sldLayoutId id="2147483729" r:id="rId31"/>
    <p:sldLayoutId id="2147483730" r:id="rId32"/>
    <p:sldLayoutId id="2147483731" r:id="rId33"/>
    <p:sldLayoutId id="2147483732" r:id="rId34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06680" indent="-10668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SzPct val="100000"/>
        <a:buFont typeface="Delivery" panose="020F0503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13360" indent="-10668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SzPct val="100000"/>
        <a:buFont typeface="Delivery" panose="020F0503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" indent="-10668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SzPct val="100000"/>
        <a:buFont typeface="Delivery" panose="020F0503020204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1">
          <p15:clr>
            <a:srgbClr val="FF9696"/>
          </p15:clr>
        </p15:guide>
        <p15:guide id="2" orient="horz" pos="725">
          <p15:clr>
            <a:srgbClr val="FF9696"/>
          </p15:clr>
        </p15:guide>
        <p15:guide id="3" orient="horz" pos="942">
          <p15:clr>
            <a:srgbClr val="FF9696"/>
          </p15:clr>
        </p15:guide>
        <p15:guide id="4" orient="horz" pos="2513">
          <p15:clr>
            <a:srgbClr val="FF9696"/>
          </p15:clr>
        </p15:guide>
        <p15:guide id="5" orient="horz" pos="2781">
          <p15:clr>
            <a:srgbClr val="FF9696"/>
          </p15:clr>
        </p15:guide>
        <p15:guide id="6" orient="horz" pos="2949">
          <p15:clr>
            <a:srgbClr val="FF9696"/>
          </p15:clr>
        </p15:guide>
        <p15:guide id="7" pos="204">
          <p15:clr>
            <a:srgbClr val="FF9696"/>
          </p15:clr>
        </p15:guide>
        <p15:guide id="8" pos="2767">
          <p15:clr>
            <a:srgbClr val="FF9696"/>
          </p15:clr>
        </p15:guide>
        <p15:guide id="9" pos="2880">
          <p15:clr>
            <a:srgbClr val="FF9696"/>
          </p15:clr>
        </p15:guide>
        <p15:guide id="10" pos="2993">
          <p15:clr>
            <a:srgbClr val="FF9696"/>
          </p15:clr>
        </p15:guide>
        <p15:guide id="11" pos="5556">
          <p15:clr>
            <a:srgbClr val="FF9696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749D10C-54F1-42F3-A98D-E0677011A5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247214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47" imgH="348" progId="TCLayout.ActiveDocument.1">
                  <p:embed/>
                </p:oleObj>
              </mc:Choice>
              <mc:Fallback>
                <p:oleObj name="think-cell Slide" r:id="rId28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749D10C-54F1-42F3-A98D-E0677011A5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324000" y="116156"/>
            <a:ext cx="2736000" cy="14404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800" b="1">
                <a:solidFill>
                  <a:schemeClr val="accent4"/>
                </a:solidFill>
              </a:rPr>
              <a:t>CONFIDENTIAL</a:t>
            </a:r>
            <a:endParaRPr lang="en-US" sz="800" b="1" i="0" u="none" strike="noStrike" cap="all" baseline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2" y="1151293"/>
            <a:ext cx="8495999" cy="35290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199"/>
              <a:t>Paragraph Headline, Delivery Bold, 12 </a:t>
            </a:r>
            <a:r>
              <a:rPr lang="en-US" sz="1199" err="1"/>
              <a:t>pt</a:t>
            </a:r>
            <a:endParaRPr lang="en-US" sz="1199"/>
          </a:p>
          <a:p>
            <a:pPr lvl="6"/>
            <a:r>
              <a:rPr lang="en-US" sz="1199"/>
              <a:t>Bullet number, Delivery, 12 </a:t>
            </a:r>
            <a:r>
              <a:rPr lang="en-US" sz="1199" err="1"/>
              <a:t>pt</a:t>
            </a:r>
            <a:endParaRPr lang="en-US" sz="1199"/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2" y="385283"/>
            <a:ext cx="8495999" cy="4941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91DCB0-690F-4A8F-8B38-572A97732198}"/>
              </a:ext>
            </a:extLst>
          </p:cNvPr>
          <p:cNvSpPr txBox="1"/>
          <p:nvPr userDrawn="1"/>
        </p:nvSpPr>
        <p:spPr bwMode="gray">
          <a:xfrm>
            <a:off x="323999" y="4805466"/>
            <a:ext cx="8117532" cy="13854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en-US" sz="900"/>
              <a:t>DHL Express | Final report MI-2022 | France | May 202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DB2D86-F0A4-4BC1-B55F-745CFC1A455E}"/>
              </a:ext>
            </a:extLst>
          </p:cNvPr>
          <p:cNvSpPr txBox="1"/>
          <p:nvPr userDrawn="1"/>
        </p:nvSpPr>
        <p:spPr bwMode="gray">
          <a:xfrm>
            <a:off x="8441533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900"/>
            </a:lvl1pPr>
          </a:lstStyle>
          <a:p>
            <a:pPr lvl="0"/>
            <a:fld id="{6CE8C368-3382-4C28-AE75-DF7C05ACA19D}" type="slidenum">
              <a:rPr lang="en-US" sz="900"/>
              <a:pPr lvl="0"/>
              <a:t>‹N°›</a:t>
            </a:fld>
            <a:endParaRPr lang="en-US" sz="900"/>
          </a:p>
        </p:txBody>
      </p:sp>
      <p:sp>
        <p:nvSpPr>
          <p:cNvPr id="2" name="MSIPCMContentMarking" descr="{&quot;HashCode&quot;:-938250575,&quot;Placement&quot;:&quot;Header&quot;,&quot;Top&quot;:0.0,&quot;Left&quot;:0.0,&quot;SlideWidth&quot;:720,&quot;SlideHeight&quot;:405}">
            <a:extLst>
              <a:ext uri="{FF2B5EF4-FFF2-40B4-BE49-F238E27FC236}">
                <a16:creationId xmlns:a16="http://schemas.microsoft.com/office/drawing/2014/main" id="{78956BC5-9CF7-2DE5-84E1-D9D9352173FD}"/>
              </a:ext>
            </a:extLst>
          </p:cNvPr>
          <p:cNvSpPr txBox="1"/>
          <p:nvPr userDrawn="1"/>
        </p:nvSpPr>
        <p:spPr>
          <a:xfrm>
            <a:off x="0" y="0"/>
            <a:ext cx="1665012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fr-FR" sz="1000">
                <a:solidFill>
                  <a:srgbClr val="747474"/>
                </a:solidFill>
                <a:latin typeface="delivery" panose="020F0503020204020204" pitchFamily="34" charset="0"/>
              </a:rPr>
              <a:t>UNCLASSIFIED (PUBLIC)</a:t>
            </a:r>
            <a:endParaRPr lang="fr-FR" sz="1000" dirty="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4147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82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</p:sldLayoutIdLst>
  <p:hf hdr="0" ftr="0" dt="0"/>
  <p:txStyles>
    <p:titleStyle>
      <a:lvl1pPr algn="l" defTabSz="685577" rtl="0" eaLnBrk="1" latinLnBrk="0" hangingPunct="1">
        <a:lnSpc>
          <a:spcPct val="100000"/>
        </a:lnSpc>
        <a:spcBef>
          <a:spcPct val="0"/>
        </a:spcBef>
        <a:buNone/>
        <a:defRPr sz="179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577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199" kern="1200">
          <a:solidFill>
            <a:schemeClr val="tx1"/>
          </a:solidFill>
          <a:latin typeface="+mn-lt"/>
          <a:ea typeface="+mn-ea"/>
          <a:cs typeface="+mn-cs"/>
        </a:defRPr>
      </a:lvl1pPr>
      <a:lvl2pPr marL="106646" indent="-106646" algn="l" defTabSz="685577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SzPct val="100000"/>
        <a:buFont typeface="Delivery" panose="020F0503020204020204" pitchFamily="34" charset="0"/>
        <a:buChar char="•"/>
        <a:defRPr sz="1199" kern="1200">
          <a:solidFill>
            <a:schemeClr val="tx1"/>
          </a:solidFill>
          <a:latin typeface="+mn-lt"/>
          <a:ea typeface="+mn-ea"/>
          <a:cs typeface="+mn-cs"/>
        </a:defRPr>
      </a:lvl2pPr>
      <a:lvl3pPr marL="213291" indent="-106646" algn="l" defTabSz="685577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SzPct val="100000"/>
        <a:buFont typeface="Delivery" panose="020F0503020204020204" pitchFamily="34" charset="0"/>
        <a:buChar char="–"/>
        <a:defRPr sz="1199" kern="1200">
          <a:solidFill>
            <a:schemeClr val="tx1"/>
          </a:solidFill>
          <a:latin typeface="+mn-lt"/>
          <a:ea typeface="+mn-ea"/>
          <a:cs typeface="+mn-cs"/>
        </a:defRPr>
      </a:lvl3pPr>
      <a:lvl4pPr marL="319936" indent="-106646" algn="l" defTabSz="685577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SzPct val="100000"/>
        <a:buFont typeface="Delivery" panose="020F0503020204020204" pitchFamily="34" charset="0"/>
        <a:buChar char="-"/>
        <a:defRPr sz="1199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577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499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5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49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79942" indent="-179942" algn="l" defTabSz="685577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0915" indent="-171395" algn="l" defTabSz="68557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13703" indent="-171395" algn="l" defTabSz="68557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77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788" algn="l" defTabSz="685577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577" algn="l" defTabSz="685577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366" algn="l" defTabSz="685577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1155" algn="l" defTabSz="685577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943" algn="l" defTabSz="685577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731" algn="l" defTabSz="685577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520" algn="l" defTabSz="685577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2308" algn="l" defTabSz="685577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1" userDrawn="1">
          <p15:clr>
            <a:srgbClr val="FF9696"/>
          </p15:clr>
        </p15:guide>
        <p15:guide id="2" orient="horz" pos="544" userDrawn="1">
          <p15:clr>
            <a:srgbClr val="FF9696"/>
          </p15:clr>
        </p15:guide>
        <p15:guide id="3" orient="horz" pos="707" userDrawn="1">
          <p15:clr>
            <a:srgbClr val="FF9696"/>
          </p15:clr>
        </p15:guide>
        <p15:guide id="4" orient="horz" pos="1885" userDrawn="1">
          <p15:clr>
            <a:srgbClr val="FF9696"/>
          </p15:clr>
        </p15:guide>
        <p15:guide id="5" orient="horz" pos="2086" userDrawn="1">
          <p15:clr>
            <a:srgbClr val="FF9696"/>
          </p15:clr>
        </p15:guide>
        <p15:guide id="6" orient="horz" pos="2212" userDrawn="1">
          <p15:clr>
            <a:srgbClr val="FF9696"/>
          </p15:clr>
        </p15:guide>
        <p15:guide id="7" pos="153" userDrawn="1">
          <p15:clr>
            <a:srgbClr val="FF9696"/>
          </p15:clr>
        </p15:guide>
        <p15:guide id="8" pos="2075" userDrawn="1">
          <p15:clr>
            <a:srgbClr val="FF9696"/>
          </p15:clr>
        </p15:guide>
        <p15:guide id="9" pos="2160" userDrawn="1">
          <p15:clr>
            <a:srgbClr val="FF9696"/>
          </p15:clr>
        </p15:guide>
        <p15:guide id="10" pos="2245" userDrawn="1">
          <p15:clr>
            <a:srgbClr val="FF9696"/>
          </p15:clr>
        </p15:guide>
        <p15:guide id="11" pos="4167" userDrawn="1">
          <p15:clr>
            <a:srgbClr val="FF9696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99" y="4805466"/>
            <a:ext cx="8117532" cy="13854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1532" y="4805466"/>
            <a:ext cx="378469" cy="13854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1" y="1151293"/>
            <a:ext cx="8495999" cy="35290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200"/>
              <a:t>Paragraph Headline, Delivery Bold, 12 </a:t>
            </a:r>
            <a:r>
              <a:rPr lang="en-US" sz="1200" err="1"/>
              <a:t>pt</a:t>
            </a:r>
            <a:endParaRPr lang="en-US" sz="1200"/>
          </a:p>
          <a:p>
            <a:pPr lvl="6"/>
            <a:r>
              <a:rPr lang="en-US" sz="1200"/>
              <a:t>Bullet number, Delivery, 12 </a:t>
            </a:r>
            <a:r>
              <a:rPr lang="en-US" sz="1200" err="1"/>
              <a:t>pt</a:t>
            </a:r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1" y="385282"/>
            <a:ext cx="8495999" cy="4941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MSIPCMContentMarking" descr="{&quot;HashCode&quot;:-938250575,&quot;Placement&quot;:&quot;Header&quot;,&quot;Top&quot;:0.0,&quot;Left&quot;:0.0,&quot;SlideWidth&quot;:720,&quot;SlideHeight&quot;:405}"/>
          <p:cNvSpPr txBox="1"/>
          <p:nvPr userDrawn="1"/>
        </p:nvSpPr>
        <p:spPr>
          <a:xfrm>
            <a:off x="0" y="0"/>
            <a:ext cx="1665012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47474"/>
                </a:solidFill>
                <a:latin typeface="delivery" panose="020F0503020204020204" pitchFamily="34" charset="0"/>
              </a:rPr>
              <a:t>UNCLASSIFIED (PUBLIC)</a:t>
            </a:r>
            <a:endParaRPr lang="en-US" sz="100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4952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  <p:sldLayoutId id="2147483818" r:id="rId20"/>
    <p:sldLayoutId id="2147483819" r:id="rId21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6" orient="horz" pos="725">
          <p15:clr>
            <a:srgbClr val="F26B43"/>
          </p15:clr>
        </p15:guide>
        <p15:guide id="17" orient="horz" pos="2949">
          <p15:clr>
            <a:srgbClr val="F26B43"/>
          </p15:clr>
        </p15:guide>
        <p15:guide id="18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ecommerce.dhl.fr/gestion-retours/" TargetMode="External"/><Relationship Id="rId2" Type="http://schemas.openxmlformats.org/officeDocument/2006/relationships/hyperlink" Target="https://ecommerce.dhl.fr/on-demand-delivery/" TargetMode="Externa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9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97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96.emf"/><Relationship Id="rId11" Type="http://schemas.openxmlformats.org/officeDocument/2006/relationships/image" Target="../media/image101.svg"/><Relationship Id="rId5" Type="http://schemas.openxmlformats.org/officeDocument/2006/relationships/oleObject" Target="../embeddings/oleObject68.bin"/><Relationship Id="rId10" Type="http://schemas.openxmlformats.org/officeDocument/2006/relationships/image" Target="../media/image100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99.w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05.jpe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79.xml"/><Relationship Id="rId6" Type="http://schemas.openxmlformats.org/officeDocument/2006/relationships/image" Target="../media/image104.jpeg"/><Relationship Id="rId11" Type="http://schemas.openxmlformats.org/officeDocument/2006/relationships/image" Target="../media/image101.svg"/><Relationship Id="rId5" Type="http://schemas.openxmlformats.org/officeDocument/2006/relationships/image" Target="../media/image103.jpeg"/><Relationship Id="rId10" Type="http://schemas.openxmlformats.org/officeDocument/2006/relationships/image" Target="../media/image100.png"/><Relationship Id="rId4" Type="http://schemas.openxmlformats.org/officeDocument/2006/relationships/image" Target="../media/image102.jpeg"/><Relationship Id="rId9" Type="http://schemas.openxmlformats.org/officeDocument/2006/relationships/image" Target="../media/image10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07.sv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15.xml"/><Relationship Id="rId2" Type="http://schemas.openxmlformats.org/officeDocument/2006/relationships/slide" Target="slide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7" Type="http://schemas.openxmlformats.org/officeDocument/2006/relationships/image" Target="../media/image78.png"/><Relationship Id="rId2" Type="http://schemas.openxmlformats.org/officeDocument/2006/relationships/oleObject" Target="../embeddings/oleObject66.bin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7.png"/><Relationship Id="rId5" Type="http://schemas.openxmlformats.org/officeDocument/2006/relationships/image" Target="../media/image76.emf"/><Relationship Id="rId4" Type="http://schemas.openxmlformats.org/officeDocument/2006/relationships/oleObject" Target="../embeddings/oleObject6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svg"/><Relationship Id="rId7" Type="http://schemas.openxmlformats.org/officeDocument/2006/relationships/image" Target="../media/image84.sv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3.png"/><Relationship Id="rId11" Type="http://schemas.openxmlformats.org/officeDocument/2006/relationships/image" Target="../media/image88.png"/><Relationship Id="rId5" Type="http://schemas.openxmlformats.org/officeDocument/2006/relationships/image" Target="../media/image82.svg"/><Relationship Id="rId10" Type="http://schemas.openxmlformats.org/officeDocument/2006/relationships/image" Target="../media/image87.png"/><Relationship Id="rId4" Type="http://schemas.openxmlformats.org/officeDocument/2006/relationships/image" Target="../media/image81.png"/><Relationship Id="rId9" Type="http://schemas.openxmlformats.org/officeDocument/2006/relationships/image" Target="../media/image8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33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ciel, plein air, eau, nuage&#10;&#10;Description générée automatiquement">
            <a:extLst>
              <a:ext uri="{FF2B5EF4-FFF2-40B4-BE49-F238E27FC236}">
                <a16:creationId xmlns:a16="http://schemas.microsoft.com/office/drawing/2014/main" id="{CD0855F2-95F2-39C8-26F1-40DEE1AECDC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836" b="14135"/>
          <a:stretch/>
        </p:blipFill>
        <p:spPr>
          <a:xfrm>
            <a:off x="0" y="-1"/>
            <a:ext cx="9144000" cy="2704171"/>
          </a:xfrm>
          <a:prstGeom prst="rect">
            <a:avLst/>
          </a:prstGeom>
        </p:spPr>
      </p:pic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DF41D981-DA4E-4490-B146-568D43AFE0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ECONOMY SELECT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2AEFCCC-1A11-43B9-ACD7-BB228447B8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69937" y="2704171"/>
            <a:ext cx="7183438" cy="850605"/>
          </a:xfrm>
        </p:spPr>
        <p:txBody>
          <a:bodyPr lIns="91440" tIns="45720" rIns="91440" bIns="45720" anchor="t"/>
          <a:lstStyle/>
          <a:p>
            <a:r>
              <a:rPr lang="fr-FR" sz="4000" dirty="0"/>
              <a:t>SOLUTION 2023</a:t>
            </a:r>
          </a:p>
        </p:txBody>
      </p:sp>
    </p:spTree>
    <p:extLst>
      <p:ext uri="{BB962C8B-B14F-4D97-AF65-F5344CB8AC3E}">
        <p14:creationId xmlns:p14="http://schemas.microsoft.com/office/powerpoint/2010/main" val="17137243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B47DE29A-A7CF-0AD0-454D-3D3A4EFCB5AF}"/>
              </a:ext>
            </a:extLst>
          </p:cNvPr>
          <p:cNvSpPr txBox="1"/>
          <p:nvPr/>
        </p:nvSpPr>
        <p:spPr>
          <a:xfrm>
            <a:off x="3072668" y="1737179"/>
            <a:ext cx="5719945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Qu’est ce que vous offre notre solution Economy Select ? 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0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image de marque, </a:t>
            </a:r>
            <a:r>
              <a:rPr lang="fr-FR" sz="10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onnu auprès du grand public.</a:t>
            </a:r>
            <a:b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0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 service de livraison à la demande (</a:t>
            </a:r>
            <a:r>
              <a:rPr lang="fr-FR" sz="10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  <a:hlinkClick r:id="rId2"/>
              </a:rPr>
              <a:t>On </a:t>
            </a:r>
            <a:r>
              <a:rPr lang="fr-FR" sz="1000" b="1" dirty="0" err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  <a:hlinkClick r:id="rId2"/>
              </a:rPr>
              <a:t>Demand</a:t>
            </a:r>
            <a:r>
              <a:rPr lang="fr-FR" sz="10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  <a:hlinkClick r:id="rId2"/>
              </a:rPr>
              <a:t> Delivery</a:t>
            </a: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), qui vous offre diverses options de livraison pratiques et flexibles.</a:t>
            </a:r>
            <a:b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0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 réseau sécurisé grâce à nos </a:t>
            </a:r>
            <a:r>
              <a:rPr lang="fr-FR" sz="10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certifications TAPA et OEA</a:t>
            </a: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, pour protéger vos envois de forte valeur.</a:t>
            </a:r>
            <a:b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0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0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qualité uniforme sur tous les pays européens</a:t>
            </a: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via notre réseau intégré.</a:t>
            </a:r>
            <a:b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0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gestion </a:t>
            </a:r>
            <a:r>
              <a:rPr lang="fr-FR" sz="10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  <a:hlinkClick r:id="rId3"/>
              </a:rPr>
              <a:t>des retours simplifiée</a:t>
            </a: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  <a:hlinkClick r:id="rId3"/>
              </a:rPr>
              <a:t> </a:t>
            </a: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ia nos outils en ligne</a:t>
            </a:r>
            <a:b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0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0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 service client présent dans chaque pays, </a:t>
            </a: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ur faciliter la communication entre votre client et DHL.</a:t>
            </a:r>
            <a:b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0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0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fiabilité des délais </a:t>
            </a: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(qualité de service à plus de 96%).</a:t>
            </a:r>
            <a:b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0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interaction avec toutes </a:t>
            </a:r>
            <a:r>
              <a:rPr lang="fr-FR" sz="10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s plateformes web </a:t>
            </a:r>
            <a:r>
              <a:rPr lang="fr-FR" sz="10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(DEC, Magento, Prestashop, Woo commerce)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B62665E-C997-697D-CC6A-538F292F36AE}"/>
              </a:ext>
            </a:extLst>
          </p:cNvPr>
          <p:cNvSpPr/>
          <p:nvPr/>
        </p:nvSpPr>
        <p:spPr>
          <a:xfrm>
            <a:off x="3072668" y="686225"/>
            <a:ext cx="4807307" cy="7660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971A66D-7009-7E70-2B98-19341762452A}"/>
              </a:ext>
            </a:extLst>
          </p:cNvPr>
          <p:cNvSpPr txBox="1">
            <a:spLocks/>
          </p:cNvSpPr>
          <p:nvPr/>
        </p:nvSpPr>
        <p:spPr>
          <a:xfrm>
            <a:off x="2972479" y="104382"/>
            <a:ext cx="8581998" cy="399596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000" b="1" dirty="0">
                <a:solidFill>
                  <a:srgbClr val="D40511"/>
                </a:solidFill>
                <a:latin typeface="Delivery" panose="020F0503020204020204" pitchFamily="34" charset="0"/>
              </a:rPr>
              <a:t>Economy Select chez DHL Express France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129B40FE-C0A0-30EC-F552-99725962646A}"/>
              </a:ext>
            </a:extLst>
          </p:cNvPr>
          <p:cNvSpPr txBox="1"/>
          <p:nvPr/>
        </p:nvSpPr>
        <p:spPr>
          <a:xfrm>
            <a:off x="3113010" y="733557"/>
            <a:ext cx="46795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cap="all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</a:t>
            </a:r>
            <a:r>
              <a:rPr lang="fr-FR" b="1" i="0" cap="all" dirty="0">
                <a:solidFill>
                  <a:schemeClr val="bg1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SOLUTION ADAPTÉE A VOS BESOINS </a:t>
            </a:r>
            <a:br>
              <a:rPr lang="fr-FR" b="1" i="0" cap="all" dirty="0">
                <a:solidFill>
                  <a:schemeClr val="bg1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r>
              <a:rPr lang="fr-FR" b="1" i="0" cap="all" dirty="0">
                <a:solidFill>
                  <a:srgbClr val="DD191B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BtoC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9C8CCC-5B6F-C947-4A21-D301E3864F78}"/>
              </a:ext>
            </a:extLst>
          </p:cNvPr>
          <p:cNvSpPr/>
          <p:nvPr/>
        </p:nvSpPr>
        <p:spPr>
          <a:xfrm>
            <a:off x="280805" y="4552950"/>
            <a:ext cx="1424170" cy="438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5" name="Image 14" descr="Une image contenant bâtiment, Zone métropolitaine, Zone urbaine, Métropole&#10;&#10;Description générée automatiquement">
            <a:extLst>
              <a:ext uri="{FF2B5EF4-FFF2-40B4-BE49-F238E27FC236}">
                <a16:creationId xmlns:a16="http://schemas.microsoft.com/office/drawing/2014/main" id="{11BDDE99-7340-4E61-3A63-87B3340D064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7" t="12309" r="62076" b="-748"/>
          <a:stretch/>
        </p:blipFill>
        <p:spPr>
          <a:xfrm>
            <a:off x="0" y="0"/>
            <a:ext cx="2972479" cy="519588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1C492DE6-2F14-205C-4E3F-FBD7D003CB50}"/>
              </a:ext>
            </a:extLst>
          </p:cNvPr>
          <p:cNvSpPr/>
          <p:nvPr/>
        </p:nvSpPr>
        <p:spPr>
          <a:xfrm>
            <a:off x="3072668" y="1634529"/>
            <a:ext cx="5790527" cy="3406177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49512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Image 32" descr="Une image contenant plein air, ciel, herbe, générateur&#10;&#10;Description générée automatiquement">
            <a:extLst>
              <a:ext uri="{FF2B5EF4-FFF2-40B4-BE49-F238E27FC236}">
                <a16:creationId xmlns:a16="http://schemas.microsoft.com/office/drawing/2014/main" id="{3DB3BB19-3323-61F8-2097-579D427CB2D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78" t="15571" r="52804" b="261"/>
          <a:stretch/>
        </p:blipFill>
        <p:spPr>
          <a:xfrm>
            <a:off x="6165173" y="0"/>
            <a:ext cx="2972479" cy="5145088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155BC6C3-5A08-17F7-9CCC-2B3449DCA5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1800" dirty="0"/>
              <a:t>Une solution qui présente de nombreux avantages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E45C8FC-D0A7-40C2-E7CF-F9542B07427D}"/>
              </a:ext>
            </a:extLst>
          </p:cNvPr>
          <p:cNvSpPr/>
          <p:nvPr/>
        </p:nvSpPr>
        <p:spPr>
          <a:xfrm>
            <a:off x="-537053" y="1106370"/>
            <a:ext cx="6051374" cy="74472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ZoneTexte 26">
            <a:extLst>
              <a:ext uri="{FF2B5EF4-FFF2-40B4-BE49-F238E27FC236}">
                <a16:creationId xmlns:a16="http://schemas.microsoft.com/office/drawing/2014/main" id="{7B5D7ED3-3DFE-F392-07D5-D30DCAA1FDF1}"/>
              </a:ext>
            </a:extLst>
          </p:cNvPr>
          <p:cNvSpPr txBox="1"/>
          <p:nvPr/>
        </p:nvSpPr>
        <p:spPr>
          <a:xfrm flipH="1">
            <a:off x="324001" y="1119566"/>
            <a:ext cx="219872" cy="328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fr-FR" sz="2000" b="1" dirty="0"/>
              <a:t>1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393C68C8-98FD-6A70-A0B0-D1BCCA936268}"/>
              </a:ext>
            </a:extLst>
          </p:cNvPr>
          <p:cNvSpPr txBox="1"/>
          <p:nvPr/>
        </p:nvSpPr>
        <p:spPr>
          <a:xfrm>
            <a:off x="543873" y="1155567"/>
            <a:ext cx="444914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i="0" dirty="0">
                <a:solidFill>
                  <a:srgbClr val="212529"/>
                </a:solidFill>
                <a:effectLst/>
                <a:latin typeface="+mj-lt"/>
              </a:rPr>
              <a:t>Conciliez fiabilité et économie avec un service en porte à porte qui propose </a:t>
            </a:r>
            <a:r>
              <a:rPr lang="fr-FR" sz="1200" b="1" i="0" dirty="0">
                <a:solidFill>
                  <a:srgbClr val="212529"/>
                </a:solidFill>
                <a:effectLst/>
                <a:latin typeface="+mj-lt"/>
              </a:rPr>
              <a:t>des délais de livraison compris entre 2 et 5 jours*, </a:t>
            </a:r>
            <a:r>
              <a:rPr lang="fr-FR" sz="1200" i="0" dirty="0">
                <a:solidFill>
                  <a:srgbClr val="212529"/>
                </a:solidFill>
                <a:effectLst/>
                <a:latin typeface="+mj-lt"/>
              </a:rPr>
              <a:t>selon les destinations.</a:t>
            </a:r>
            <a:endParaRPr lang="fr-FR" sz="1200" dirty="0">
              <a:latin typeface="+mj-lt"/>
            </a:endParaRP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18ADE1A6-CAAE-6201-B580-B3A8869DB958}"/>
              </a:ext>
            </a:extLst>
          </p:cNvPr>
          <p:cNvSpPr txBox="1"/>
          <p:nvPr/>
        </p:nvSpPr>
        <p:spPr>
          <a:xfrm flipH="1">
            <a:off x="324001" y="2091950"/>
            <a:ext cx="219872" cy="328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fr-FR" sz="2000" b="1" dirty="0"/>
              <a:t>2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5D3D0518-1B89-7C21-4DB8-7D55A7789321}"/>
              </a:ext>
            </a:extLst>
          </p:cNvPr>
          <p:cNvSpPr txBox="1"/>
          <p:nvPr/>
        </p:nvSpPr>
        <p:spPr>
          <a:xfrm>
            <a:off x="543873" y="2202938"/>
            <a:ext cx="45586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dirty="0">
                <a:solidFill>
                  <a:srgbClr val="212529"/>
                </a:solidFill>
                <a:latin typeface="+mj-lt"/>
              </a:rPr>
              <a:t>Bénéficiez de </a:t>
            </a:r>
            <a:r>
              <a:rPr lang="fr-FR" sz="1200" b="1" dirty="0">
                <a:solidFill>
                  <a:srgbClr val="212529"/>
                </a:solidFill>
                <a:latin typeface="+mj-lt"/>
              </a:rPr>
              <a:t>la fiabilité d’un réseau DHL Express </a:t>
            </a:r>
            <a:r>
              <a:rPr lang="fr-FR" sz="1200" dirty="0">
                <a:solidFill>
                  <a:srgbClr val="212529"/>
                </a:solidFill>
                <a:latin typeface="+mj-lt"/>
              </a:rPr>
              <a:t>avec un suivi détaillé de bout en bout et un Service Clients à votre disposition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0E6BDA9-CFEF-7743-BF31-14CD159EDD9D}"/>
              </a:ext>
            </a:extLst>
          </p:cNvPr>
          <p:cNvSpPr/>
          <p:nvPr/>
        </p:nvSpPr>
        <p:spPr>
          <a:xfrm>
            <a:off x="-537053" y="2061408"/>
            <a:ext cx="6051374" cy="74472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40447863-F87A-57FD-338B-E0FB66EEFDCB}"/>
              </a:ext>
            </a:extLst>
          </p:cNvPr>
          <p:cNvSpPr txBox="1"/>
          <p:nvPr/>
        </p:nvSpPr>
        <p:spPr>
          <a:xfrm flipH="1">
            <a:off x="324001" y="3052150"/>
            <a:ext cx="219872" cy="328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fr-FR" sz="2000" b="1" dirty="0"/>
              <a:t>3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4A6BB1E8-4EBF-7181-2C59-74F5A530836D}"/>
              </a:ext>
            </a:extLst>
          </p:cNvPr>
          <p:cNvSpPr txBox="1"/>
          <p:nvPr/>
        </p:nvSpPr>
        <p:spPr>
          <a:xfrm>
            <a:off x="543872" y="3088296"/>
            <a:ext cx="435912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dirty="0">
                <a:solidFill>
                  <a:srgbClr val="212529"/>
                </a:solidFill>
                <a:latin typeface="+mj-lt"/>
              </a:rPr>
              <a:t>Vos expéditions peuvent être composées d’un ou plusieurs colis, individuel ou sur palette, avec un </a:t>
            </a:r>
            <a:r>
              <a:rPr lang="fr-FR" sz="1200" b="1" dirty="0">
                <a:solidFill>
                  <a:srgbClr val="212529"/>
                </a:solidFill>
                <a:latin typeface="+mj-lt"/>
              </a:rPr>
              <a:t>poids maximum de 1 000 kg</a:t>
            </a:r>
            <a:r>
              <a:rPr lang="fr-FR" sz="1200" dirty="0">
                <a:solidFill>
                  <a:srgbClr val="212529"/>
                </a:solidFill>
                <a:latin typeface="+mj-lt"/>
              </a:rPr>
              <a:t> par expédition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CE8B48-EA96-EEC8-2DFA-0EEDA4D40E79}"/>
              </a:ext>
            </a:extLst>
          </p:cNvPr>
          <p:cNvSpPr/>
          <p:nvPr/>
        </p:nvSpPr>
        <p:spPr>
          <a:xfrm>
            <a:off x="-537053" y="3039099"/>
            <a:ext cx="6051374" cy="74472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E24A352F-DD97-111A-8681-9E01DB9D2F39}"/>
              </a:ext>
            </a:extLst>
          </p:cNvPr>
          <p:cNvSpPr txBox="1"/>
          <p:nvPr/>
        </p:nvSpPr>
        <p:spPr>
          <a:xfrm flipH="1">
            <a:off x="324001" y="4018100"/>
            <a:ext cx="219872" cy="3282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fr-FR" sz="2000" b="1" dirty="0"/>
              <a:t>4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A005800D-C0A2-FE5D-3479-5A31902D1FBC}"/>
              </a:ext>
            </a:extLst>
          </p:cNvPr>
          <p:cNvSpPr txBox="1"/>
          <p:nvPr/>
        </p:nvSpPr>
        <p:spPr>
          <a:xfrm>
            <a:off x="543872" y="4052755"/>
            <a:ext cx="435912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200" dirty="0">
                <a:solidFill>
                  <a:srgbClr val="212529"/>
                </a:solidFill>
                <a:latin typeface="+mj-lt"/>
              </a:rPr>
              <a:t>Bénéficiez toujours de</a:t>
            </a:r>
            <a:r>
              <a:rPr lang="fr-FR" sz="1200" b="1" dirty="0">
                <a:solidFill>
                  <a:srgbClr val="212529"/>
                </a:solidFill>
                <a:latin typeface="+mj-lt"/>
              </a:rPr>
              <a:t> services à valeur ajoutée disponibles</a:t>
            </a:r>
            <a:r>
              <a:rPr lang="fr-FR" sz="1200" dirty="0">
                <a:solidFill>
                  <a:srgbClr val="212529"/>
                </a:solidFill>
                <a:latin typeface="+mj-lt"/>
              </a:rPr>
              <a:t>, qu'il s'agisse des emballages, de l'assurance, ou d'une facturation électronique sur votre compte client habituel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E67FBD2-94FE-6547-D20C-79818AD2AE84}"/>
              </a:ext>
            </a:extLst>
          </p:cNvPr>
          <p:cNvSpPr/>
          <p:nvPr/>
        </p:nvSpPr>
        <p:spPr>
          <a:xfrm>
            <a:off x="-537053" y="4003558"/>
            <a:ext cx="6051374" cy="74472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38B14A-B20C-C4F9-8B10-ECB6FDEF15ED}"/>
              </a:ext>
            </a:extLst>
          </p:cNvPr>
          <p:cNvSpPr/>
          <p:nvPr/>
        </p:nvSpPr>
        <p:spPr>
          <a:xfrm>
            <a:off x="261179" y="4805923"/>
            <a:ext cx="2879889" cy="21973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>
            <a:noAutofit/>
          </a:bodyPr>
          <a:lstStyle/>
          <a:p>
            <a:pPr algn="l">
              <a:buClr>
                <a:schemeClr val="bg1"/>
              </a:buClr>
            </a:pPr>
            <a:endParaRPr lang="fr-FR" sz="1200" dirty="0" err="1">
              <a:solidFill>
                <a:schemeClr val="bg1"/>
              </a:solidFill>
              <a:latin typeface="Delivery" panose="020F050302020402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8E7906B-6D0D-0D95-5F46-C9DD1540DD1A}"/>
              </a:ext>
            </a:extLst>
          </p:cNvPr>
          <p:cNvSpPr txBox="1"/>
          <p:nvPr/>
        </p:nvSpPr>
        <p:spPr>
          <a:xfrm>
            <a:off x="261179" y="4860295"/>
            <a:ext cx="484500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800" b="1" dirty="0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* (délai donnée à titre indicatif)</a:t>
            </a:r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16484534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209FE49-62F7-67B7-A0ED-F7747177461F}"/>
              </a:ext>
            </a:extLst>
          </p:cNvPr>
          <p:cNvSpPr/>
          <p:nvPr/>
        </p:nvSpPr>
        <p:spPr>
          <a:xfrm>
            <a:off x="0" y="4469716"/>
            <a:ext cx="8718211" cy="66775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>
            <a:noAutofit/>
          </a:bodyPr>
          <a:lstStyle/>
          <a:p>
            <a:pPr algn="l">
              <a:buClr>
                <a:schemeClr val="bg1"/>
              </a:buClr>
            </a:pPr>
            <a:endParaRPr lang="fr-FR" sz="1200" dirty="0" err="1">
              <a:solidFill>
                <a:schemeClr val="bg1"/>
              </a:solidFill>
              <a:latin typeface="Delivery" panose="020F0503020204020204" pitchFamily="34" charset="0"/>
            </a:endParaRPr>
          </a:p>
        </p:txBody>
      </p:sp>
      <p:pic>
        <p:nvPicPr>
          <p:cNvPr id="4" name="Image 3" descr="Une image contenant carte, texte, atlas&#10;&#10;Description générée automatiquement">
            <a:extLst>
              <a:ext uri="{FF2B5EF4-FFF2-40B4-BE49-F238E27FC236}">
                <a16:creationId xmlns:a16="http://schemas.microsoft.com/office/drawing/2014/main" id="{A979B516-03C0-9E75-2C55-B34B7BCF4E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325" y="1827540"/>
            <a:ext cx="4612606" cy="3210341"/>
          </a:xfrm>
          <a:prstGeom prst="rect">
            <a:avLst/>
          </a:prstGeom>
        </p:spPr>
      </p:pic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0B5A643-4397-28C1-30E4-80D23EA4D98E}"/>
              </a:ext>
            </a:extLst>
          </p:cNvPr>
          <p:cNvSpPr txBox="1">
            <a:spLocks/>
          </p:cNvSpPr>
          <p:nvPr/>
        </p:nvSpPr>
        <p:spPr>
          <a:xfrm>
            <a:off x="281001" y="554859"/>
            <a:ext cx="8581998" cy="399596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000" b="1" dirty="0">
                <a:solidFill>
                  <a:srgbClr val="D40511"/>
                </a:solidFill>
                <a:latin typeface="Delivery" panose="020F0503020204020204" pitchFamily="34" charset="0"/>
              </a:rPr>
              <a:t>Effectuez vos expéditions dans toute l’Europe 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E79A95D-9A53-11C2-CA4D-E5DB0AABC0D1}"/>
              </a:ext>
            </a:extLst>
          </p:cNvPr>
          <p:cNvSpPr/>
          <p:nvPr/>
        </p:nvSpPr>
        <p:spPr>
          <a:xfrm>
            <a:off x="-1" y="1101005"/>
            <a:ext cx="4872148" cy="31661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8EEA6A1B-16CC-D442-F372-85491CEAD9DD}"/>
              </a:ext>
            </a:extLst>
          </p:cNvPr>
          <p:cNvSpPr txBox="1"/>
          <p:nvPr/>
        </p:nvSpPr>
        <p:spPr>
          <a:xfrm>
            <a:off x="530491" y="1120887"/>
            <a:ext cx="48721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cap="all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S PAYS QUE NOUS DESERVONS AVEC l’ECONOMY SELECT</a:t>
            </a:r>
            <a:endParaRPr lang="fr-FR" sz="1200" b="1" i="0" cap="all" dirty="0">
              <a:solidFill>
                <a:schemeClr val="bg1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3D145910-8E69-98DB-5ACC-13FB399EA107}"/>
              </a:ext>
            </a:extLst>
          </p:cNvPr>
          <p:cNvSpPr txBox="1"/>
          <p:nvPr/>
        </p:nvSpPr>
        <p:spPr>
          <a:xfrm>
            <a:off x="355571" y="4357977"/>
            <a:ext cx="49074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e délais de livraison dans les 30 territoires couverts par notre solution Economy Select est compris </a:t>
            </a:r>
            <a:r>
              <a:rPr lang="fr-FR" sz="1200" b="1" dirty="0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entre 2 et 5 jours</a:t>
            </a:r>
            <a:r>
              <a:rPr lang="fr-FR" sz="1200" dirty="0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.*</a:t>
            </a:r>
            <a:br>
              <a:rPr lang="fr-FR" sz="1200" dirty="0">
                <a:solidFill>
                  <a:srgbClr val="212529"/>
                </a:solidFill>
                <a:highlight>
                  <a:srgbClr val="FFFF00"/>
                </a:highlight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r>
              <a:rPr lang="fr-FR" sz="800" b="1" dirty="0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* (délais donnée à titre indicatif)</a:t>
            </a:r>
            <a:endParaRPr lang="fr-FR" sz="1200" dirty="0">
              <a:solidFill>
                <a:srgbClr val="212529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E5B64DC-4FB0-0B0F-5A4A-6AA62539AA73}"/>
              </a:ext>
            </a:extLst>
          </p:cNvPr>
          <p:cNvSpPr/>
          <p:nvPr/>
        </p:nvSpPr>
        <p:spPr>
          <a:xfrm>
            <a:off x="283800" y="4117219"/>
            <a:ext cx="5041426" cy="825533"/>
          </a:xfrm>
          <a:prstGeom prst="rect">
            <a:avLst/>
          </a:prstGeom>
          <a:noFill/>
          <a:ln w="63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space réservé du texte 10">
            <a:extLst>
              <a:ext uri="{FF2B5EF4-FFF2-40B4-BE49-F238E27FC236}">
                <a16:creationId xmlns:a16="http://schemas.microsoft.com/office/drawing/2014/main" id="{0ADF3D91-9B58-B9B4-52F4-B4D7ED8FF1DC}"/>
              </a:ext>
            </a:extLst>
          </p:cNvPr>
          <p:cNvSpPr txBox="1">
            <a:spLocks/>
          </p:cNvSpPr>
          <p:nvPr/>
        </p:nvSpPr>
        <p:spPr>
          <a:xfrm>
            <a:off x="436168" y="3999550"/>
            <a:ext cx="1766395" cy="23533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200" b="1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>
                <a:solidFill>
                  <a:srgbClr val="D40511"/>
                </a:solidFill>
              </a:rPr>
              <a:t>BON À SAVOIR</a:t>
            </a:r>
          </a:p>
        </p:txBody>
      </p:sp>
      <p:pic>
        <p:nvPicPr>
          <p:cNvPr id="20" name="Image 19" descr="Une image contenant Graphique, rouge, cercle, conception&#10;&#10;Description générée automatiquement">
            <a:extLst>
              <a:ext uri="{FF2B5EF4-FFF2-40B4-BE49-F238E27FC236}">
                <a16:creationId xmlns:a16="http://schemas.microsoft.com/office/drawing/2014/main" id="{65D6FC0D-E9EF-E7C2-FF59-132F7EA7790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737" y="3856020"/>
            <a:ext cx="229826" cy="229826"/>
          </a:xfrm>
          <a:prstGeom prst="rect">
            <a:avLst/>
          </a:prstGeom>
        </p:spPr>
      </p:pic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AE1D4E2F-EF47-3A1D-A21B-6D42A827AD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6716706"/>
              </p:ext>
            </p:extLst>
          </p:nvPr>
        </p:nvGraphicFramePr>
        <p:xfrm>
          <a:off x="436167" y="1628558"/>
          <a:ext cx="1615469" cy="2078486"/>
        </p:xfrm>
        <a:graphic>
          <a:graphicData uri="http://schemas.openxmlformats.org/drawingml/2006/table">
            <a:tbl>
              <a:tblPr/>
              <a:tblGrid>
                <a:gridCol w="1615469">
                  <a:extLst>
                    <a:ext uri="{9D8B030D-6E8A-4147-A177-3AD203B41FA5}">
                      <a16:colId xmlns:a16="http://schemas.microsoft.com/office/drawing/2014/main" val="2740074733"/>
                    </a:ext>
                  </a:extLst>
                </a:gridCol>
              </a:tblGrid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1</a:t>
                      </a:r>
                    </a:p>
                  </a:txBody>
                  <a:tcPr marL="2023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0908741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Allemagne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3130395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Belgique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1227741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Espagne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4054536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Italie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558983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Luxembourg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4815580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Pays-Bas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0485548"/>
                  </a:ext>
                </a:extLst>
              </a:tr>
              <a:tr h="238646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Royaume-Uni </a:t>
                      </a:r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(ESI)</a:t>
                      </a:r>
                    </a:p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Irlande du Nord </a:t>
                      </a:r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(ESI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7215089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Vatican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3066524"/>
                  </a:ext>
                </a:extLst>
              </a:tr>
              <a:tr h="12044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2</a:t>
                      </a:r>
                    </a:p>
                  </a:txBody>
                  <a:tcPr marL="2023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DBC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0299160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Autriche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6801887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Danemark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9614429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Irlande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666583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Pologne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37325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Portugal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5033222"/>
                  </a:ext>
                </a:extLst>
              </a:tr>
              <a:tr h="122814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République Tchèque (ESU)</a:t>
                      </a:r>
                    </a:p>
                  </a:txBody>
                  <a:tcPr marL="24276" marR="2023" marT="20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9724692"/>
                  </a:ext>
                </a:extLst>
              </a:tr>
            </a:tbl>
          </a:graphicData>
        </a:graphic>
      </p:graphicFrame>
      <p:graphicFrame>
        <p:nvGraphicFramePr>
          <p:cNvPr id="5" name="Tableau 4">
            <a:extLst>
              <a:ext uri="{FF2B5EF4-FFF2-40B4-BE49-F238E27FC236}">
                <a16:creationId xmlns:a16="http://schemas.microsoft.com/office/drawing/2014/main" id="{5FA0B9CB-FBAD-CC36-3D17-774551B687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323829"/>
              </p:ext>
            </p:extLst>
          </p:nvPr>
        </p:nvGraphicFramePr>
        <p:xfrm>
          <a:off x="2804513" y="1628558"/>
          <a:ext cx="1491538" cy="2190244"/>
        </p:xfrm>
        <a:graphic>
          <a:graphicData uri="http://schemas.openxmlformats.org/drawingml/2006/table">
            <a:tbl>
              <a:tblPr/>
              <a:tblGrid>
                <a:gridCol w="1491538">
                  <a:extLst>
                    <a:ext uri="{9D8B030D-6E8A-4147-A177-3AD203B41FA5}">
                      <a16:colId xmlns:a16="http://schemas.microsoft.com/office/drawing/2014/main" val="1033641511"/>
                    </a:ext>
                  </a:extLst>
                </a:gridCol>
              </a:tblGrid>
              <a:tr h="68660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3</a:t>
                      </a:r>
                    </a:p>
                  </a:txBody>
                  <a:tcPr marL="1931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0907992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Bulgari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7387953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Croati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7124311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Estoni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1248413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Finland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8956734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Grèc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5643576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Hongri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7109510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Lettoni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5936790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Lituani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7189597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Roumani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5128480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Slovaqui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141037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Slovéni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336673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Suède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494631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4</a:t>
                      </a:r>
                    </a:p>
                  </a:txBody>
                  <a:tcPr marL="1931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191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664022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Liechtenstein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1282176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Norvège </a:t>
                      </a:r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(ESI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9764767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Saint-Marin (ESU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1011688"/>
                  </a:ext>
                </a:extLst>
              </a:tr>
              <a:tr h="122449">
                <a:tc>
                  <a:txBody>
                    <a:bodyPr/>
                    <a:lstStyle/>
                    <a:p>
                      <a:pPr algn="ctr" fontAlgn="b"/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Suisse </a:t>
                      </a:r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Delivery" panose="020F0503020204020204" pitchFamily="34" charset="0"/>
                        </a:rPr>
                        <a:t>(ESI)</a:t>
                      </a:r>
                    </a:p>
                  </a:txBody>
                  <a:tcPr marL="23172" marR="1931" marT="1931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2645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42061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209FE49-62F7-67B7-A0ED-F7747177461F}"/>
              </a:ext>
            </a:extLst>
          </p:cNvPr>
          <p:cNvSpPr/>
          <p:nvPr/>
        </p:nvSpPr>
        <p:spPr>
          <a:xfrm>
            <a:off x="0" y="4477336"/>
            <a:ext cx="8718211" cy="66775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>
            <a:noAutofit/>
          </a:bodyPr>
          <a:lstStyle/>
          <a:p>
            <a:pPr algn="l">
              <a:buClr>
                <a:schemeClr val="bg1"/>
              </a:buClr>
            </a:pPr>
            <a:endParaRPr lang="fr-FR" sz="1200" dirty="0" err="1">
              <a:solidFill>
                <a:schemeClr val="bg1"/>
              </a:solidFill>
              <a:latin typeface="Delivery" panose="020F0503020204020204" pitchFamily="34" charset="0"/>
            </a:endParaRPr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A0B5A643-4397-28C1-30E4-80D23EA4D98E}"/>
              </a:ext>
            </a:extLst>
          </p:cNvPr>
          <p:cNvSpPr txBox="1">
            <a:spLocks/>
          </p:cNvSpPr>
          <p:nvPr/>
        </p:nvSpPr>
        <p:spPr>
          <a:xfrm>
            <a:off x="281001" y="554859"/>
            <a:ext cx="8581998" cy="399596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000" b="1" dirty="0">
                <a:solidFill>
                  <a:srgbClr val="D40511"/>
                </a:solidFill>
                <a:latin typeface="Delivery" panose="020F0503020204020204" pitchFamily="34" charset="0"/>
              </a:rPr>
              <a:t>Assurez-vous que vos envois sont aux normes  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3D145910-8E69-98DB-5ACC-13FB399EA107}"/>
              </a:ext>
            </a:extLst>
          </p:cNvPr>
          <p:cNvSpPr txBox="1"/>
          <p:nvPr/>
        </p:nvSpPr>
        <p:spPr>
          <a:xfrm>
            <a:off x="913495" y="3731856"/>
            <a:ext cx="29386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1: 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ous vous demandons de </a:t>
            </a:r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alettiser 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oute pièce ayant un poids réel </a:t>
            </a:r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supérieur à 30kg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. Aucun colis de plus de 30kg ne sera ramassés s’ils ne sont pas palettisés.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A82E483-63DE-6FE3-F9C5-E83EECBD31CC}"/>
              </a:ext>
            </a:extLst>
          </p:cNvPr>
          <p:cNvSpPr/>
          <p:nvPr/>
        </p:nvSpPr>
        <p:spPr>
          <a:xfrm>
            <a:off x="6077088" y="3933602"/>
            <a:ext cx="599988" cy="1256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E5B64DC-4FB0-0B0F-5A4A-6AA62539AA73}"/>
              </a:ext>
            </a:extLst>
          </p:cNvPr>
          <p:cNvSpPr/>
          <p:nvPr/>
        </p:nvSpPr>
        <p:spPr>
          <a:xfrm>
            <a:off x="813178" y="3654617"/>
            <a:ext cx="3139274" cy="985475"/>
          </a:xfrm>
          <a:prstGeom prst="rect">
            <a:avLst/>
          </a:prstGeom>
          <a:noFill/>
          <a:ln w="63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0318B6D-3388-3BD9-69D0-E5D9D8A6458D}"/>
              </a:ext>
            </a:extLst>
          </p:cNvPr>
          <p:cNvSpPr/>
          <p:nvPr/>
        </p:nvSpPr>
        <p:spPr>
          <a:xfrm>
            <a:off x="488614" y="1369644"/>
            <a:ext cx="1465833" cy="91214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EA768EB-A999-EAB8-4824-450CBE13092C}"/>
              </a:ext>
            </a:extLst>
          </p:cNvPr>
          <p:cNvSpPr/>
          <p:nvPr/>
        </p:nvSpPr>
        <p:spPr>
          <a:xfrm>
            <a:off x="2610581" y="1369644"/>
            <a:ext cx="1465833" cy="91214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927439-A8F7-3A18-CE01-3410D40AC04A}"/>
              </a:ext>
            </a:extLst>
          </p:cNvPr>
          <p:cNvSpPr/>
          <p:nvPr/>
        </p:nvSpPr>
        <p:spPr>
          <a:xfrm>
            <a:off x="775124" y="1970968"/>
            <a:ext cx="830638" cy="74472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E29834-BB89-30E3-CD4A-CB794826FEA5}"/>
              </a:ext>
            </a:extLst>
          </p:cNvPr>
          <p:cNvSpPr/>
          <p:nvPr/>
        </p:nvSpPr>
        <p:spPr>
          <a:xfrm>
            <a:off x="2926460" y="1978526"/>
            <a:ext cx="830638" cy="74472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25E7433-72F4-95DF-916D-D4131522DEAF}"/>
              </a:ext>
            </a:extLst>
          </p:cNvPr>
          <p:cNvSpPr/>
          <p:nvPr/>
        </p:nvSpPr>
        <p:spPr>
          <a:xfrm>
            <a:off x="4732548" y="1369644"/>
            <a:ext cx="1465833" cy="91214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78AABAD-FE27-8B14-BE23-E1A16E43EC0C}"/>
              </a:ext>
            </a:extLst>
          </p:cNvPr>
          <p:cNvSpPr/>
          <p:nvPr/>
        </p:nvSpPr>
        <p:spPr>
          <a:xfrm>
            <a:off x="5050145" y="1978358"/>
            <a:ext cx="830638" cy="74472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4E2057-2A8D-4048-54EB-894AE558AFFC}"/>
              </a:ext>
            </a:extLst>
          </p:cNvPr>
          <p:cNvSpPr/>
          <p:nvPr/>
        </p:nvSpPr>
        <p:spPr>
          <a:xfrm>
            <a:off x="6854515" y="1369644"/>
            <a:ext cx="1465833" cy="912142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E8CA3E2-6187-DF55-B6E7-F14AC19E5395}"/>
              </a:ext>
            </a:extLst>
          </p:cNvPr>
          <p:cNvSpPr/>
          <p:nvPr/>
        </p:nvSpPr>
        <p:spPr>
          <a:xfrm>
            <a:off x="6994113" y="1970968"/>
            <a:ext cx="1193605" cy="74472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3532FA48-0E3E-6894-8267-D7A97FB57E2C}"/>
              </a:ext>
            </a:extLst>
          </p:cNvPr>
          <p:cNvSpPr txBox="1"/>
          <p:nvPr/>
        </p:nvSpPr>
        <p:spPr>
          <a:xfrm>
            <a:off x="567303" y="1594883"/>
            <a:ext cx="13084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ids maximum de la pièce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41E99C86-25EA-08C6-9795-3C0956504368}"/>
              </a:ext>
            </a:extLst>
          </p:cNvPr>
          <p:cNvSpPr txBox="1"/>
          <p:nvPr/>
        </p:nvSpPr>
        <p:spPr>
          <a:xfrm>
            <a:off x="2689270" y="1594883"/>
            <a:ext cx="13084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ids maximum de la palette</a:t>
            </a:r>
          </a:p>
        </p:txBody>
      </p:sp>
      <p:sp>
        <p:nvSpPr>
          <p:cNvPr id="25" name="ZoneTexte 24">
            <a:extLst>
              <a:ext uri="{FF2B5EF4-FFF2-40B4-BE49-F238E27FC236}">
                <a16:creationId xmlns:a16="http://schemas.microsoft.com/office/drawing/2014/main" id="{0CA76A38-CB0E-A49F-43DF-B3D276A3D393}"/>
              </a:ext>
            </a:extLst>
          </p:cNvPr>
          <p:cNvSpPr txBox="1"/>
          <p:nvPr/>
        </p:nvSpPr>
        <p:spPr>
          <a:xfrm>
            <a:off x="4811237" y="1448689"/>
            <a:ext cx="1308454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imension maximum de la pièce </a:t>
            </a:r>
            <a:br>
              <a:rPr lang="fr-FR" sz="1200" b="1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r>
              <a:rPr lang="fr-FR" sz="700" b="1" i="1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(L x L x H)</a:t>
            </a:r>
            <a:endParaRPr lang="fr-FR" sz="1200" b="1" i="1" dirty="0">
              <a:solidFill>
                <a:schemeClr val="bg1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EF2C67ED-7866-7BA6-B5D9-C66ADBE427E6}"/>
              </a:ext>
            </a:extLst>
          </p:cNvPr>
          <p:cNvSpPr txBox="1"/>
          <p:nvPr/>
        </p:nvSpPr>
        <p:spPr>
          <a:xfrm>
            <a:off x="6933204" y="1502550"/>
            <a:ext cx="13084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imension maximum de la palette</a:t>
            </a:r>
          </a:p>
        </p:txBody>
      </p:sp>
      <p:sp>
        <p:nvSpPr>
          <p:cNvPr id="28" name="ZoneTexte 27">
            <a:extLst>
              <a:ext uri="{FF2B5EF4-FFF2-40B4-BE49-F238E27FC236}">
                <a16:creationId xmlns:a16="http://schemas.microsoft.com/office/drawing/2014/main" id="{8AD8C1BD-BFEE-D73D-265B-92FBC4F386C2}"/>
              </a:ext>
            </a:extLst>
          </p:cNvPr>
          <p:cNvSpPr txBox="1"/>
          <p:nvPr/>
        </p:nvSpPr>
        <p:spPr>
          <a:xfrm>
            <a:off x="775124" y="2371781"/>
            <a:ext cx="83063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30 KG</a:t>
            </a:r>
            <a:r>
              <a:rPr lang="fr-FR" sz="1050" b="0" i="0" u="none" strike="noStrike" baseline="30000" dirty="0">
                <a:solidFill>
                  <a:srgbClr val="000000"/>
                </a:solidFill>
                <a:effectLst/>
                <a:latin typeface="Delivery"/>
              </a:rPr>
              <a:t>1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14D3007C-6569-CC43-E9C7-F138B9DE929C}"/>
              </a:ext>
            </a:extLst>
          </p:cNvPr>
          <p:cNvSpPr txBox="1"/>
          <p:nvPr/>
        </p:nvSpPr>
        <p:spPr>
          <a:xfrm>
            <a:off x="2926460" y="2365203"/>
            <a:ext cx="83063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5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1000 KG</a:t>
            </a:r>
            <a:r>
              <a:rPr lang="fr-FR" sz="1050" b="0" i="0" u="none" strike="noStrike" baseline="30000" dirty="0">
                <a:solidFill>
                  <a:srgbClr val="000000"/>
                </a:solidFill>
                <a:effectLst/>
                <a:latin typeface="Delivery"/>
              </a:rPr>
              <a:t>2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38C63213-3C38-2099-5E13-C9616B67EE65}"/>
              </a:ext>
            </a:extLst>
          </p:cNvPr>
          <p:cNvSpPr txBox="1"/>
          <p:nvPr/>
        </p:nvSpPr>
        <p:spPr>
          <a:xfrm>
            <a:off x="5050145" y="2396323"/>
            <a:ext cx="8306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120 x 80 x 80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0ED325B9-AFC8-0AE3-5D8F-1975F5302C42}"/>
              </a:ext>
            </a:extLst>
          </p:cNvPr>
          <p:cNvSpPr txBox="1"/>
          <p:nvPr/>
        </p:nvSpPr>
        <p:spPr>
          <a:xfrm>
            <a:off x="6994113" y="2395593"/>
            <a:ext cx="119360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8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300 x 200 x 180 cm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6E59F415-9ABE-935B-C042-1F16C5112C8E}"/>
              </a:ext>
            </a:extLst>
          </p:cNvPr>
          <p:cNvSpPr txBox="1"/>
          <p:nvPr/>
        </p:nvSpPr>
        <p:spPr>
          <a:xfrm>
            <a:off x="5150462" y="3432636"/>
            <a:ext cx="293864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2 : 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HL Express </a:t>
            </a:r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ccepte les envois jusqu'à 1000 kg, 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contenant des pièces jusqu'à 1000 kg ou 300 cm de longueur. Les pièces individuelles pesants plus de 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70 kg, doivent être emballées dans une caisse mobile à fourche ou solidement chargées sur une palette et empilables.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853BC1A-8C49-2E8E-0C57-C5CC565FCAEF}"/>
              </a:ext>
            </a:extLst>
          </p:cNvPr>
          <p:cNvSpPr/>
          <p:nvPr/>
        </p:nvSpPr>
        <p:spPr>
          <a:xfrm>
            <a:off x="5043344" y="3421154"/>
            <a:ext cx="3139274" cy="1456581"/>
          </a:xfrm>
          <a:prstGeom prst="rect">
            <a:avLst/>
          </a:prstGeom>
          <a:noFill/>
          <a:ln w="63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61526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AB01AAC-0779-5E75-45E1-8F94A1FB0B1D}"/>
              </a:ext>
            </a:extLst>
          </p:cNvPr>
          <p:cNvSpPr/>
          <p:nvPr/>
        </p:nvSpPr>
        <p:spPr>
          <a:xfrm>
            <a:off x="281001" y="2334945"/>
            <a:ext cx="2682765" cy="8313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1C024434-6820-46F9-8211-718C46835A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55571" y="4681106"/>
            <a:ext cx="3752148" cy="195355"/>
          </a:xfrm>
        </p:spPr>
        <p:txBody>
          <a:bodyPr/>
          <a:lstStyle/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14</a:t>
            </a:fld>
            <a:r>
              <a:rPr lang="fr-FR"/>
              <a:t> - DDI CONCURREN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EB7F57-D939-2A79-44A6-75535EB8936D}"/>
              </a:ext>
            </a:extLst>
          </p:cNvPr>
          <p:cNvSpPr/>
          <p:nvPr/>
        </p:nvSpPr>
        <p:spPr>
          <a:xfrm>
            <a:off x="0" y="1101006"/>
            <a:ext cx="5772585" cy="50128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FD23D66-CD37-54D3-7C39-2611114CA6A2}"/>
              </a:ext>
            </a:extLst>
          </p:cNvPr>
          <p:cNvSpPr/>
          <p:nvPr/>
        </p:nvSpPr>
        <p:spPr>
          <a:xfrm>
            <a:off x="0" y="4477336"/>
            <a:ext cx="8718211" cy="66775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>
            <a:noAutofit/>
          </a:bodyPr>
          <a:lstStyle/>
          <a:p>
            <a:pPr algn="l">
              <a:buClr>
                <a:schemeClr val="bg1"/>
              </a:buClr>
            </a:pPr>
            <a:endParaRPr lang="fr-FR" sz="1200" dirty="0" err="1">
              <a:solidFill>
                <a:schemeClr val="bg1"/>
              </a:solidFill>
              <a:latin typeface="Delivery" panose="020F0503020204020204" pitchFamily="34" charset="0"/>
            </a:endParaRPr>
          </a:p>
        </p:txBody>
      </p:sp>
      <p:pic>
        <p:nvPicPr>
          <p:cNvPr id="9" name="Image 8" descr="Une image contenant ciel, plein air, véhicule, Véhicule terrestre&#10;&#10;Description générée automatiquement">
            <a:extLst>
              <a:ext uri="{FF2B5EF4-FFF2-40B4-BE49-F238E27FC236}">
                <a16:creationId xmlns:a16="http://schemas.microsoft.com/office/drawing/2014/main" id="{2526E0D6-F541-3364-6FF4-0EFDB2DECC9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36" r="21615"/>
          <a:stretch/>
        </p:blipFill>
        <p:spPr>
          <a:xfrm>
            <a:off x="6119002" y="0"/>
            <a:ext cx="3022939" cy="5145087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FF17A384-1218-0803-A8CB-06BA6383A6F1}"/>
              </a:ext>
            </a:extLst>
          </p:cNvPr>
          <p:cNvSpPr txBox="1"/>
          <p:nvPr/>
        </p:nvSpPr>
        <p:spPr>
          <a:xfrm>
            <a:off x="530491" y="1120887"/>
            <a:ext cx="50466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cap="all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OUS SOUHAITEZ B</a:t>
            </a:r>
            <a:r>
              <a:rPr lang="fr-FR" sz="1200" b="1" i="0" cap="all" dirty="0">
                <a:solidFill>
                  <a:schemeClr val="bg1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ÉNÉFICIER D’UN TRANSPORT ÉCONOMIQUE DANS TOUTE </a:t>
            </a:r>
            <a:r>
              <a:rPr lang="fr-FR" sz="1200" b="1" i="0" cap="all" dirty="0" err="1">
                <a:solidFill>
                  <a:schemeClr val="bg1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’EUROPe</a:t>
            </a:r>
            <a:r>
              <a:rPr lang="fr-FR" sz="1200" b="1" i="0" cap="all" dirty="0">
                <a:solidFill>
                  <a:schemeClr val="bg1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? 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9F880509-0ADA-AFDA-B925-AB2CB91071DF}"/>
              </a:ext>
            </a:extLst>
          </p:cNvPr>
          <p:cNvSpPr txBox="1">
            <a:spLocks/>
          </p:cNvSpPr>
          <p:nvPr/>
        </p:nvSpPr>
        <p:spPr>
          <a:xfrm>
            <a:off x="281001" y="554859"/>
            <a:ext cx="8581998" cy="399596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000" b="1" dirty="0">
                <a:solidFill>
                  <a:srgbClr val="D40511"/>
                </a:solidFill>
                <a:latin typeface="Delivery" panose="020F0503020204020204" pitchFamily="34" charset="0"/>
              </a:rPr>
              <a:t>Comment activer votre solution Economy Select ? 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34AADD2B-60BE-126C-E30B-6E9E6027E285}"/>
              </a:ext>
            </a:extLst>
          </p:cNvPr>
          <p:cNvSpPr txBox="1"/>
          <p:nvPr/>
        </p:nvSpPr>
        <p:spPr>
          <a:xfrm>
            <a:off x="404385" y="2432522"/>
            <a:ext cx="24359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Bénéficiez de notre solution DHL Economy Select avec votre outil d’expédition </a:t>
            </a:r>
            <a:r>
              <a:rPr lang="fr-FR" sz="1200" dirty="0" err="1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MyDHL</a:t>
            </a:r>
            <a:r>
              <a:rPr lang="fr-FR" sz="1200" dirty="0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+. 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AA4E3DF-01B2-56D7-877E-CC81EFAEBE9E}"/>
              </a:ext>
            </a:extLst>
          </p:cNvPr>
          <p:cNvSpPr/>
          <p:nvPr/>
        </p:nvSpPr>
        <p:spPr>
          <a:xfrm>
            <a:off x="283800" y="3844996"/>
            <a:ext cx="2682765" cy="1215615"/>
          </a:xfrm>
          <a:prstGeom prst="rect">
            <a:avLst/>
          </a:prstGeom>
          <a:noFill/>
          <a:ln w="63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" name="Espace réservé du texte 10">
            <a:extLst>
              <a:ext uri="{FF2B5EF4-FFF2-40B4-BE49-F238E27FC236}">
                <a16:creationId xmlns:a16="http://schemas.microsoft.com/office/drawing/2014/main" id="{B2F0F45B-FC24-D14B-EC2E-C77A66BEEC03}"/>
              </a:ext>
            </a:extLst>
          </p:cNvPr>
          <p:cNvSpPr txBox="1">
            <a:spLocks/>
          </p:cNvSpPr>
          <p:nvPr/>
        </p:nvSpPr>
        <p:spPr>
          <a:xfrm>
            <a:off x="436168" y="3727327"/>
            <a:ext cx="1766395" cy="23533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200" b="1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>
                <a:solidFill>
                  <a:srgbClr val="D40511"/>
                </a:solidFill>
              </a:rPr>
              <a:t>BON À SAVOIR</a:t>
            </a:r>
          </a:p>
        </p:txBody>
      </p:sp>
      <p:pic>
        <p:nvPicPr>
          <p:cNvPr id="20" name="Image 19" descr="Une image contenant Graphique, rouge, cercle, conception&#10;&#10;Description générée automatiquement">
            <a:extLst>
              <a:ext uri="{FF2B5EF4-FFF2-40B4-BE49-F238E27FC236}">
                <a16:creationId xmlns:a16="http://schemas.microsoft.com/office/drawing/2014/main" id="{6D2EF59F-FC30-C8DD-9999-BD472FFF98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737" y="3583797"/>
            <a:ext cx="229826" cy="229826"/>
          </a:xfrm>
          <a:prstGeom prst="rect">
            <a:avLst/>
          </a:prstGeom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E5629414-B3C9-9D74-465A-E90E2396495E}"/>
              </a:ext>
            </a:extLst>
          </p:cNvPr>
          <p:cNvSpPr txBox="1"/>
          <p:nvPr/>
        </p:nvSpPr>
        <p:spPr>
          <a:xfrm>
            <a:off x="355571" y="4050854"/>
            <a:ext cx="261099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’Economy Select est désormais disponible par défaut dans </a:t>
            </a:r>
            <a:r>
              <a:rPr lang="fr-FR" sz="1200" dirty="0" err="1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My</a:t>
            </a:r>
            <a:r>
              <a:rPr lang="fr-FR" sz="1200" dirty="0">
                <a:solidFill>
                  <a:srgbClr val="212529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DHL+. Ce dernier, s’ajoute dans la liste des produits disponibles dans la section « j’envoie mon expédition ». </a:t>
            </a:r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3E1D942B-46DC-468C-99B8-3C2BC33022C2}"/>
              </a:ext>
            </a:extLst>
          </p:cNvPr>
          <p:cNvGrpSpPr/>
          <p:nvPr/>
        </p:nvGrpSpPr>
        <p:grpSpPr>
          <a:xfrm>
            <a:off x="3287428" y="1842163"/>
            <a:ext cx="2483549" cy="3218448"/>
            <a:chOff x="3253274" y="470715"/>
            <a:chExt cx="4126954" cy="5916570"/>
          </a:xfrm>
        </p:grpSpPr>
        <p:pic>
          <p:nvPicPr>
            <p:cNvPr id="8" name="Image 7">
              <a:extLst>
                <a:ext uri="{FF2B5EF4-FFF2-40B4-BE49-F238E27FC236}">
                  <a16:creationId xmlns:a16="http://schemas.microsoft.com/office/drawing/2014/main" id="{70155ADA-7753-2690-FF7D-E13A1138AD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24949"/>
            <a:stretch/>
          </p:blipFill>
          <p:spPr>
            <a:xfrm>
              <a:off x="3253274" y="470715"/>
              <a:ext cx="4126954" cy="5916570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5FC5C77-A302-208B-5FEC-CDEF9EA28439}"/>
                </a:ext>
              </a:extLst>
            </p:cNvPr>
            <p:cNvSpPr/>
            <p:nvPr/>
          </p:nvSpPr>
          <p:spPr>
            <a:xfrm>
              <a:off x="3368351" y="5029200"/>
              <a:ext cx="3900196" cy="867747"/>
            </a:xfrm>
            <a:prstGeom prst="rect">
              <a:avLst/>
            </a:prstGeom>
            <a:noFill/>
            <a:ln w="19050">
              <a:solidFill>
                <a:srgbClr val="D405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2383124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193DCDB-E3CA-4945-A803-250864CBC0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86962" y="1279791"/>
            <a:ext cx="6753225" cy="653415"/>
          </a:xfrm>
        </p:spPr>
        <p:txBody>
          <a:bodyPr lIns="91440" tIns="45720" rIns="91440" bIns="45720" anchor="t"/>
          <a:lstStyle/>
          <a:p>
            <a:r>
              <a:rPr lang="fr-FR" dirty="0">
                <a:latin typeface="Delivery"/>
              </a:rPr>
              <a:t>LE GREEN CHEZ DHL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012236C-800E-4F9C-8D35-B84A267F95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0430" y="2980239"/>
            <a:ext cx="4048027" cy="653415"/>
          </a:xfrm>
        </p:spPr>
        <p:txBody>
          <a:bodyPr/>
          <a:lstStyle/>
          <a:p>
            <a:r>
              <a:rPr lang="fr-FR"/>
              <a:t>PARTI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BE1C89F-D947-42E3-9D10-C39F43A0483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26481204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998" y="317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22" imgH="623" progId="TCLayout.ActiveDocument.1">
                  <p:embed/>
                </p:oleObj>
              </mc:Choice>
              <mc:Fallback>
                <p:oleObj name="think-cell Slide" r:id="rId5" imgW="622" imgH="62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998" y="317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>
          <a:xfrm>
            <a:off x="1411" y="1588"/>
            <a:ext cx="158701" cy="1587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defTabSz="685577">
              <a:defRPr/>
            </a:pPr>
            <a:endParaRPr lang="en-US" sz="1799" b="1" err="1">
              <a:solidFill>
                <a:prstClr val="black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54" name="Freeform 90">
            <a:extLst>
              <a:ext uri="{FF2B5EF4-FFF2-40B4-BE49-F238E27FC236}">
                <a16:creationId xmlns:a16="http://schemas.microsoft.com/office/drawing/2014/main" id="{CC3F1338-03A9-4369-9D6B-DD1E941AD289}"/>
              </a:ext>
            </a:extLst>
          </p:cNvPr>
          <p:cNvSpPr>
            <a:spLocks/>
          </p:cNvSpPr>
          <p:nvPr/>
        </p:nvSpPr>
        <p:spPr bwMode="gray">
          <a:xfrm>
            <a:off x="7177272" y="1986588"/>
            <a:ext cx="937619" cy="602479"/>
          </a:xfrm>
          <a:custGeom>
            <a:avLst/>
            <a:gdLst>
              <a:gd name="T0" fmla="*/ 304 w 604"/>
              <a:gd name="T1" fmla="*/ 266 h 407"/>
              <a:gd name="T2" fmla="*/ 604 w 604"/>
              <a:gd name="T3" fmla="*/ 407 h 407"/>
              <a:gd name="T4" fmla="*/ 604 w 604"/>
              <a:gd name="T5" fmla="*/ 407 h 407"/>
              <a:gd name="T6" fmla="*/ 604 w 604"/>
              <a:gd name="T7" fmla="*/ 5 h 407"/>
              <a:gd name="T8" fmla="*/ 304 w 604"/>
              <a:gd name="T9" fmla="*/ 146 h 407"/>
              <a:gd name="T10" fmla="*/ 0 w 604"/>
              <a:gd name="T11" fmla="*/ 0 h 407"/>
              <a:gd name="T12" fmla="*/ 0 w 604"/>
              <a:gd name="T13" fmla="*/ 0 h 407"/>
              <a:gd name="T14" fmla="*/ 0 w 604"/>
              <a:gd name="T15" fmla="*/ 407 h 407"/>
              <a:gd name="T16" fmla="*/ 4 w 604"/>
              <a:gd name="T17" fmla="*/ 407 h 407"/>
              <a:gd name="T18" fmla="*/ 304 w 604"/>
              <a:gd name="T19" fmla="*/ 266 h 4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4" h="407">
                <a:moveTo>
                  <a:pt x="304" y="266"/>
                </a:moveTo>
                <a:cubicBezTo>
                  <a:pt x="425" y="266"/>
                  <a:pt x="532" y="321"/>
                  <a:pt x="604" y="407"/>
                </a:cubicBezTo>
                <a:cubicBezTo>
                  <a:pt x="604" y="407"/>
                  <a:pt x="604" y="407"/>
                  <a:pt x="604" y="407"/>
                </a:cubicBezTo>
                <a:cubicBezTo>
                  <a:pt x="604" y="5"/>
                  <a:pt x="604" y="5"/>
                  <a:pt x="604" y="5"/>
                </a:cubicBezTo>
                <a:cubicBezTo>
                  <a:pt x="532" y="91"/>
                  <a:pt x="425" y="146"/>
                  <a:pt x="304" y="146"/>
                </a:cubicBezTo>
                <a:cubicBezTo>
                  <a:pt x="181" y="146"/>
                  <a:pt x="72" y="89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07"/>
                  <a:pt x="0" y="407"/>
                  <a:pt x="0" y="407"/>
                </a:cubicBezTo>
                <a:cubicBezTo>
                  <a:pt x="4" y="407"/>
                  <a:pt x="4" y="407"/>
                  <a:pt x="4" y="407"/>
                </a:cubicBezTo>
                <a:cubicBezTo>
                  <a:pt x="76" y="321"/>
                  <a:pt x="184" y="266"/>
                  <a:pt x="304" y="266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59" tIns="34280" rIns="68559" bIns="34280" numCol="1" anchor="t" anchorCtr="0" compatLnSpc="1">
            <a:prstTxWarp prst="textNoShape">
              <a:avLst/>
            </a:prstTxWarp>
          </a:bodyPr>
          <a:lstStyle/>
          <a:p>
            <a:pPr defTabSz="685577">
              <a:defRPr/>
            </a:pPr>
            <a:endParaRPr lang="fr-FR" sz="800" kern="0">
              <a:solidFill>
                <a:srgbClr val="434547"/>
              </a:solidFill>
              <a:latin typeface="Delivery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77824" y="545705"/>
            <a:ext cx="9637033" cy="493951"/>
          </a:xfrm>
        </p:spPr>
        <p:txBody>
          <a:bodyPr/>
          <a:lstStyle/>
          <a:p>
            <a:r>
              <a:rPr lang="fr-FR" sz="2000" b="1" dirty="0">
                <a:solidFill>
                  <a:srgbClr val="D40511"/>
                </a:solidFill>
                <a:latin typeface="Delivery" panose="020F0503020204020204" pitchFamily="34" charset="0"/>
                <a:ea typeface="+mn-ea"/>
                <a:cs typeface="+mn-cs"/>
              </a:rPr>
              <a:t>Le groupe Deutsche Post DHL est un pionnier </a:t>
            </a:r>
            <a:br>
              <a:rPr lang="fr-FR" sz="2000" b="1" dirty="0">
                <a:solidFill>
                  <a:srgbClr val="D40511"/>
                </a:solidFill>
                <a:latin typeface="Delivery" panose="020F0503020204020204" pitchFamily="34" charset="0"/>
                <a:ea typeface="+mn-ea"/>
                <a:cs typeface="+mn-cs"/>
              </a:rPr>
            </a:br>
            <a:r>
              <a:rPr lang="fr-FR" sz="2000" b="1" dirty="0">
                <a:solidFill>
                  <a:srgbClr val="D40511"/>
                </a:solidFill>
                <a:latin typeface="Delivery" panose="020F0503020204020204" pitchFamily="34" charset="0"/>
                <a:ea typeface="+mn-ea"/>
                <a:cs typeface="+mn-cs"/>
              </a:rPr>
              <a:t>de la logistique verte</a:t>
            </a:r>
            <a:endParaRPr lang="fr-FR" sz="2399" dirty="0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83AB7539-13C7-4568-AB29-92060046665B}"/>
              </a:ext>
            </a:extLst>
          </p:cNvPr>
          <p:cNvSpPr/>
          <p:nvPr/>
        </p:nvSpPr>
        <p:spPr bwMode="gray">
          <a:xfrm>
            <a:off x="325954" y="3106545"/>
            <a:ext cx="1007689" cy="162652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54847" tIns="41135" rIns="41135" bIns="13712">
            <a:noAutofit/>
          </a:bodyPr>
          <a:lstStyle/>
          <a:p>
            <a:pPr defTabSz="685577">
              <a:lnSpc>
                <a:spcPct val="110000"/>
              </a:lnSpc>
              <a:spcAft>
                <a:spcPts val="150"/>
              </a:spcAft>
              <a:defRPr/>
            </a:pPr>
            <a:r>
              <a:rPr lang="fr-FR" sz="800" b="1" kern="0" dirty="0">
                <a:solidFill>
                  <a:srgbClr val="D40511"/>
                </a:solidFill>
                <a:latin typeface="Delivery"/>
                <a:cs typeface="Arial" panose="020B0604020202020204" pitchFamily="34" charset="0"/>
              </a:rPr>
              <a:t>Programme de Protection du Climat</a:t>
            </a:r>
          </a:p>
          <a:p>
            <a:pPr defTabSz="685577">
              <a:lnSpc>
                <a:spcPct val="110000"/>
              </a:lnSpc>
              <a:spcAft>
                <a:spcPts val="150"/>
              </a:spcAft>
              <a:defRPr/>
            </a:pP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DHL Group est la </a:t>
            </a:r>
            <a:r>
              <a:rPr lang="fr-FR" sz="800" b="1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première entreprise de logistique, </a:t>
            </a: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à définir  un objectif quantifiable de protection du climat</a:t>
            </a:r>
          </a:p>
        </p:txBody>
      </p:sp>
      <p:sp>
        <p:nvSpPr>
          <p:cNvPr id="19" name="Rectangle 19">
            <a:extLst>
              <a:ext uri="{FF2B5EF4-FFF2-40B4-BE49-F238E27FC236}">
                <a16:creationId xmlns:a16="http://schemas.microsoft.com/office/drawing/2014/main" id="{E6A724B1-D10F-4517-9C59-489FE4CD9EB6}"/>
              </a:ext>
            </a:extLst>
          </p:cNvPr>
          <p:cNvSpPr/>
          <p:nvPr/>
        </p:nvSpPr>
        <p:spPr bwMode="gray">
          <a:xfrm>
            <a:off x="1205650" y="4497518"/>
            <a:ext cx="247991" cy="213889"/>
          </a:xfrm>
          <a:prstGeom prst="rect">
            <a:avLst/>
          </a:prstGeom>
          <a:noFill/>
          <a:ln>
            <a:noFill/>
          </a:ln>
        </p:spPr>
        <p:txBody>
          <a:bodyPr wrap="square" lIns="54847" tIns="41135" rIns="41135" bIns="13712">
            <a:noAutofit/>
          </a:bodyPr>
          <a:lstStyle/>
          <a:p>
            <a:pPr algn="ctr" defTabSz="685577">
              <a:spcAft>
                <a:spcPts val="450"/>
              </a:spcAft>
              <a:defRPr/>
            </a:pPr>
            <a:r>
              <a:rPr lang="fr-FR" sz="1600" b="1">
                <a:solidFill>
                  <a:srgbClr val="007C39"/>
                </a:solidFill>
                <a:latin typeface="Delivery"/>
                <a:sym typeface="Wingdings"/>
              </a:rPr>
              <a:t></a:t>
            </a:r>
            <a:endParaRPr lang="fr-FR" sz="1600">
              <a:solidFill>
                <a:srgbClr val="007C39"/>
              </a:solidFill>
              <a:latin typeface="Delivery"/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5CB4C421-CF7C-418B-BEA6-28528D2CE92A}"/>
              </a:ext>
            </a:extLst>
          </p:cNvPr>
          <p:cNvSpPr/>
          <p:nvPr/>
        </p:nvSpPr>
        <p:spPr bwMode="gray">
          <a:xfrm>
            <a:off x="1565925" y="3106544"/>
            <a:ext cx="1007689" cy="162652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54847" tIns="41135" rIns="41135" bIns="13712">
            <a:noAutofit/>
          </a:bodyPr>
          <a:lstStyle/>
          <a:p>
            <a:pPr defTabSz="685577">
              <a:lnSpc>
                <a:spcPct val="110000"/>
              </a:lnSpc>
              <a:spcAft>
                <a:spcPts val="150"/>
              </a:spcAft>
              <a:defRPr/>
            </a:pPr>
            <a:r>
              <a:rPr lang="fr-FR" sz="800" b="1" kern="0" dirty="0">
                <a:solidFill>
                  <a:srgbClr val="D40511"/>
                </a:solidFill>
                <a:latin typeface="Delivery"/>
                <a:cs typeface="Arial" panose="020B0604020202020204" pitchFamily="34" charset="0"/>
              </a:rPr>
              <a:t>Premier Objectif Intermédiaire Atteint</a:t>
            </a:r>
          </a:p>
          <a:p>
            <a:pPr defTabSz="685577">
              <a:lnSpc>
                <a:spcPct val="110000"/>
              </a:lnSpc>
              <a:spcAft>
                <a:spcPts val="150"/>
              </a:spcAft>
              <a:defRPr/>
            </a:pP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DHL Group, atteint son objectif intermédiaire en 2012 deux ans en avance: </a:t>
            </a:r>
            <a:r>
              <a:rPr lang="fr-FR" sz="800" b="1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améliorer l’efficacité carbone de 10% </a:t>
            </a: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vs</a:t>
            </a:r>
            <a:r>
              <a:rPr lang="fr-FR" sz="800" b="1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 </a:t>
            </a: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2007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47EB51-784F-4D59-8074-C4D0F873C39F}"/>
              </a:ext>
            </a:extLst>
          </p:cNvPr>
          <p:cNvSpPr/>
          <p:nvPr/>
        </p:nvSpPr>
        <p:spPr bwMode="gray">
          <a:xfrm>
            <a:off x="2446938" y="4509251"/>
            <a:ext cx="247991" cy="213889"/>
          </a:xfrm>
          <a:prstGeom prst="rect">
            <a:avLst/>
          </a:prstGeom>
          <a:noFill/>
          <a:ln>
            <a:noFill/>
          </a:ln>
        </p:spPr>
        <p:txBody>
          <a:bodyPr wrap="square" lIns="54847" tIns="41135" rIns="41135" bIns="13712">
            <a:noAutofit/>
          </a:bodyPr>
          <a:lstStyle/>
          <a:p>
            <a:pPr algn="ctr" defTabSz="685577">
              <a:spcAft>
                <a:spcPts val="450"/>
              </a:spcAft>
              <a:defRPr/>
            </a:pPr>
            <a:r>
              <a:rPr lang="fr-FR" sz="1600" b="1">
                <a:solidFill>
                  <a:srgbClr val="007C39"/>
                </a:solidFill>
                <a:latin typeface="Delivery"/>
                <a:sym typeface="Wingdings"/>
              </a:rPr>
              <a:t></a:t>
            </a:r>
            <a:endParaRPr lang="fr-FR" sz="1600">
              <a:solidFill>
                <a:srgbClr val="007C39"/>
              </a:solidFill>
              <a:latin typeface="Delivery"/>
            </a:endParaRPr>
          </a:p>
        </p:txBody>
      </p:sp>
      <p:cxnSp>
        <p:nvCxnSpPr>
          <p:cNvPr id="24" name="Straight Connector 2">
            <a:extLst>
              <a:ext uri="{FF2B5EF4-FFF2-40B4-BE49-F238E27FC236}">
                <a16:creationId xmlns:a16="http://schemas.microsoft.com/office/drawing/2014/main" id="{BE48DEB4-FA1A-4459-B106-1D69436CD150}"/>
              </a:ext>
            </a:extLst>
          </p:cNvPr>
          <p:cNvCxnSpPr/>
          <p:nvPr/>
        </p:nvCxnSpPr>
        <p:spPr bwMode="gray">
          <a:xfrm>
            <a:off x="327146" y="1510811"/>
            <a:ext cx="8468801" cy="0"/>
          </a:xfrm>
          <a:prstGeom prst="line">
            <a:avLst/>
          </a:prstGeom>
          <a:noFill/>
          <a:ln w="31750" cap="flat" cmpd="sng" algn="ctr">
            <a:solidFill>
              <a:schemeClr val="tx2"/>
            </a:solidFill>
            <a:prstDash val="solid"/>
            <a:headEnd type="oval" w="sm" len="sm"/>
            <a:tailEnd type="oval" w="sm" len="sm"/>
          </a:ln>
          <a:effectLst/>
        </p:spPr>
      </p:cxnSp>
      <p:sp>
        <p:nvSpPr>
          <p:cNvPr id="25" name="Freeform 90">
            <a:extLst>
              <a:ext uri="{FF2B5EF4-FFF2-40B4-BE49-F238E27FC236}">
                <a16:creationId xmlns:a16="http://schemas.microsoft.com/office/drawing/2014/main" id="{CC3F1338-03A9-4369-9D6B-DD1E941AD289}"/>
              </a:ext>
            </a:extLst>
          </p:cNvPr>
          <p:cNvSpPr>
            <a:spLocks/>
          </p:cNvSpPr>
          <p:nvPr/>
        </p:nvSpPr>
        <p:spPr bwMode="gray">
          <a:xfrm>
            <a:off x="5966630" y="1986588"/>
            <a:ext cx="937619" cy="602479"/>
          </a:xfrm>
          <a:custGeom>
            <a:avLst/>
            <a:gdLst>
              <a:gd name="T0" fmla="*/ 304 w 604"/>
              <a:gd name="T1" fmla="*/ 266 h 407"/>
              <a:gd name="T2" fmla="*/ 604 w 604"/>
              <a:gd name="T3" fmla="*/ 407 h 407"/>
              <a:gd name="T4" fmla="*/ 604 w 604"/>
              <a:gd name="T5" fmla="*/ 407 h 407"/>
              <a:gd name="T6" fmla="*/ 604 w 604"/>
              <a:gd name="T7" fmla="*/ 5 h 407"/>
              <a:gd name="T8" fmla="*/ 304 w 604"/>
              <a:gd name="T9" fmla="*/ 146 h 407"/>
              <a:gd name="T10" fmla="*/ 0 w 604"/>
              <a:gd name="T11" fmla="*/ 0 h 407"/>
              <a:gd name="T12" fmla="*/ 0 w 604"/>
              <a:gd name="T13" fmla="*/ 0 h 407"/>
              <a:gd name="T14" fmla="*/ 0 w 604"/>
              <a:gd name="T15" fmla="*/ 407 h 407"/>
              <a:gd name="T16" fmla="*/ 4 w 604"/>
              <a:gd name="T17" fmla="*/ 407 h 407"/>
              <a:gd name="T18" fmla="*/ 304 w 604"/>
              <a:gd name="T19" fmla="*/ 266 h 4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4" h="407">
                <a:moveTo>
                  <a:pt x="304" y="266"/>
                </a:moveTo>
                <a:cubicBezTo>
                  <a:pt x="425" y="266"/>
                  <a:pt x="532" y="321"/>
                  <a:pt x="604" y="407"/>
                </a:cubicBezTo>
                <a:cubicBezTo>
                  <a:pt x="604" y="407"/>
                  <a:pt x="604" y="407"/>
                  <a:pt x="604" y="407"/>
                </a:cubicBezTo>
                <a:cubicBezTo>
                  <a:pt x="604" y="5"/>
                  <a:pt x="604" y="5"/>
                  <a:pt x="604" y="5"/>
                </a:cubicBezTo>
                <a:cubicBezTo>
                  <a:pt x="532" y="91"/>
                  <a:pt x="425" y="146"/>
                  <a:pt x="304" y="146"/>
                </a:cubicBezTo>
                <a:cubicBezTo>
                  <a:pt x="181" y="146"/>
                  <a:pt x="72" y="89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07"/>
                  <a:pt x="0" y="407"/>
                  <a:pt x="0" y="407"/>
                </a:cubicBezTo>
                <a:cubicBezTo>
                  <a:pt x="4" y="407"/>
                  <a:pt x="4" y="407"/>
                  <a:pt x="4" y="407"/>
                </a:cubicBezTo>
                <a:cubicBezTo>
                  <a:pt x="76" y="321"/>
                  <a:pt x="184" y="266"/>
                  <a:pt x="304" y="266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59" tIns="34280" rIns="68559" bIns="34280" numCol="1" anchor="t" anchorCtr="0" compatLnSpc="1">
            <a:prstTxWarp prst="textNoShape">
              <a:avLst/>
            </a:prstTxWarp>
          </a:bodyPr>
          <a:lstStyle/>
          <a:p>
            <a:pPr defTabSz="685577">
              <a:defRPr/>
            </a:pPr>
            <a:endParaRPr lang="fr-FR" sz="800" kern="0">
              <a:solidFill>
                <a:srgbClr val="434547"/>
              </a:solidFill>
              <a:latin typeface="Delivery"/>
            </a:endParaRPr>
          </a:p>
        </p:txBody>
      </p:sp>
      <p:sp>
        <p:nvSpPr>
          <p:cNvPr id="26" name="Freeform 90">
            <a:extLst>
              <a:ext uri="{FF2B5EF4-FFF2-40B4-BE49-F238E27FC236}">
                <a16:creationId xmlns:a16="http://schemas.microsoft.com/office/drawing/2014/main" id="{3E970175-70E9-4200-92CE-14F036079703}"/>
              </a:ext>
            </a:extLst>
          </p:cNvPr>
          <p:cNvSpPr>
            <a:spLocks/>
          </p:cNvSpPr>
          <p:nvPr/>
        </p:nvSpPr>
        <p:spPr bwMode="gray">
          <a:xfrm>
            <a:off x="971096" y="1986588"/>
            <a:ext cx="937619" cy="602479"/>
          </a:xfrm>
          <a:custGeom>
            <a:avLst/>
            <a:gdLst>
              <a:gd name="T0" fmla="*/ 304 w 604"/>
              <a:gd name="T1" fmla="*/ 266 h 407"/>
              <a:gd name="T2" fmla="*/ 604 w 604"/>
              <a:gd name="T3" fmla="*/ 407 h 407"/>
              <a:gd name="T4" fmla="*/ 604 w 604"/>
              <a:gd name="T5" fmla="*/ 407 h 407"/>
              <a:gd name="T6" fmla="*/ 604 w 604"/>
              <a:gd name="T7" fmla="*/ 5 h 407"/>
              <a:gd name="T8" fmla="*/ 304 w 604"/>
              <a:gd name="T9" fmla="*/ 146 h 407"/>
              <a:gd name="T10" fmla="*/ 0 w 604"/>
              <a:gd name="T11" fmla="*/ 0 h 407"/>
              <a:gd name="T12" fmla="*/ 0 w 604"/>
              <a:gd name="T13" fmla="*/ 0 h 407"/>
              <a:gd name="T14" fmla="*/ 0 w 604"/>
              <a:gd name="T15" fmla="*/ 407 h 407"/>
              <a:gd name="T16" fmla="*/ 4 w 604"/>
              <a:gd name="T17" fmla="*/ 407 h 407"/>
              <a:gd name="T18" fmla="*/ 304 w 604"/>
              <a:gd name="T19" fmla="*/ 266 h 4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4" h="407">
                <a:moveTo>
                  <a:pt x="304" y="266"/>
                </a:moveTo>
                <a:cubicBezTo>
                  <a:pt x="425" y="266"/>
                  <a:pt x="532" y="321"/>
                  <a:pt x="604" y="407"/>
                </a:cubicBezTo>
                <a:cubicBezTo>
                  <a:pt x="604" y="407"/>
                  <a:pt x="604" y="407"/>
                  <a:pt x="604" y="407"/>
                </a:cubicBezTo>
                <a:cubicBezTo>
                  <a:pt x="604" y="5"/>
                  <a:pt x="604" y="5"/>
                  <a:pt x="604" y="5"/>
                </a:cubicBezTo>
                <a:cubicBezTo>
                  <a:pt x="532" y="91"/>
                  <a:pt x="425" y="146"/>
                  <a:pt x="304" y="146"/>
                </a:cubicBezTo>
                <a:cubicBezTo>
                  <a:pt x="181" y="146"/>
                  <a:pt x="72" y="89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07"/>
                  <a:pt x="0" y="407"/>
                  <a:pt x="0" y="407"/>
                </a:cubicBezTo>
                <a:cubicBezTo>
                  <a:pt x="4" y="407"/>
                  <a:pt x="4" y="407"/>
                  <a:pt x="4" y="407"/>
                </a:cubicBezTo>
                <a:cubicBezTo>
                  <a:pt x="76" y="321"/>
                  <a:pt x="184" y="266"/>
                  <a:pt x="304" y="266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59" tIns="34280" rIns="68559" bIns="34280" numCol="1" anchor="t" anchorCtr="0" compatLnSpc="1">
            <a:prstTxWarp prst="textNoShape">
              <a:avLst/>
            </a:prstTxWarp>
          </a:bodyPr>
          <a:lstStyle/>
          <a:p>
            <a:pPr defTabSz="685577">
              <a:defRPr/>
            </a:pPr>
            <a:endParaRPr lang="fr-FR" sz="800" kern="0">
              <a:solidFill>
                <a:srgbClr val="434547"/>
              </a:solidFill>
              <a:latin typeface="Delivery"/>
            </a:endParaRPr>
          </a:p>
        </p:txBody>
      </p:sp>
      <p:sp>
        <p:nvSpPr>
          <p:cNvPr id="27" name="Freeform 90">
            <a:extLst>
              <a:ext uri="{FF2B5EF4-FFF2-40B4-BE49-F238E27FC236}">
                <a16:creationId xmlns:a16="http://schemas.microsoft.com/office/drawing/2014/main" id="{6C3FED24-7FE5-457E-A7F7-0B98D12A1B3E}"/>
              </a:ext>
            </a:extLst>
          </p:cNvPr>
          <p:cNvSpPr>
            <a:spLocks/>
          </p:cNvSpPr>
          <p:nvPr/>
        </p:nvSpPr>
        <p:spPr bwMode="gray">
          <a:xfrm>
            <a:off x="2219980" y="1986588"/>
            <a:ext cx="937619" cy="602479"/>
          </a:xfrm>
          <a:custGeom>
            <a:avLst/>
            <a:gdLst>
              <a:gd name="T0" fmla="*/ 304 w 604"/>
              <a:gd name="T1" fmla="*/ 266 h 407"/>
              <a:gd name="T2" fmla="*/ 604 w 604"/>
              <a:gd name="T3" fmla="*/ 407 h 407"/>
              <a:gd name="T4" fmla="*/ 604 w 604"/>
              <a:gd name="T5" fmla="*/ 407 h 407"/>
              <a:gd name="T6" fmla="*/ 604 w 604"/>
              <a:gd name="T7" fmla="*/ 5 h 407"/>
              <a:gd name="T8" fmla="*/ 304 w 604"/>
              <a:gd name="T9" fmla="*/ 146 h 407"/>
              <a:gd name="T10" fmla="*/ 0 w 604"/>
              <a:gd name="T11" fmla="*/ 0 h 407"/>
              <a:gd name="T12" fmla="*/ 0 w 604"/>
              <a:gd name="T13" fmla="*/ 0 h 407"/>
              <a:gd name="T14" fmla="*/ 0 w 604"/>
              <a:gd name="T15" fmla="*/ 407 h 407"/>
              <a:gd name="T16" fmla="*/ 4 w 604"/>
              <a:gd name="T17" fmla="*/ 407 h 407"/>
              <a:gd name="T18" fmla="*/ 304 w 604"/>
              <a:gd name="T19" fmla="*/ 266 h 4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4" h="407">
                <a:moveTo>
                  <a:pt x="304" y="266"/>
                </a:moveTo>
                <a:cubicBezTo>
                  <a:pt x="425" y="266"/>
                  <a:pt x="532" y="321"/>
                  <a:pt x="604" y="407"/>
                </a:cubicBezTo>
                <a:cubicBezTo>
                  <a:pt x="604" y="407"/>
                  <a:pt x="604" y="407"/>
                  <a:pt x="604" y="407"/>
                </a:cubicBezTo>
                <a:cubicBezTo>
                  <a:pt x="604" y="5"/>
                  <a:pt x="604" y="5"/>
                  <a:pt x="604" y="5"/>
                </a:cubicBezTo>
                <a:cubicBezTo>
                  <a:pt x="532" y="91"/>
                  <a:pt x="425" y="146"/>
                  <a:pt x="304" y="146"/>
                </a:cubicBezTo>
                <a:cubicBezTo>
                  <a:pt x="181" y="146"/>
                  <a:pt x="72" y="89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07"/>
                  <a:pt x="0" y="407"/>
                  <a:pt x="0" y="407"/>
                </a:cubicBezTo>
                <a:cubicBezTo>
                  <a:pt x="4" y="407"/>
                  <a:pt x="4" y="407"/>
                  <a:pt x="4" y="407"/>
                </a:cubicBezTo>
                <a:cubicBezTo>
                  <a:pt x="76" y="321"/>
                  <a:pt x="184" y="266"/>
                  <a:pt x="304" y="266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59" tIns="34280" rIns="68559" bIns="34280" numCol="1" anchor="t" anchorCtr="0" compatLnSpc="1">
            <a:prstTxWarp prst="textNoShape">
              <a:avLst/>
            </a:prstTxWarp>
          </a:bodyPr>
          <a:lstStyle/>
          <a:p>
            <a:pPr defTabSz="685577">
              <a:defRPr/>
            </a:pPr>
            <a:endParaRPr lang="fr-FR" sz="800" kern="0">
              <a:solidFill>
                <a:srgbClr val="434547"/>
              </a:solidFill>
              <a:latin typeface="Delivery"/>
            </a:endParaRPr>
          </a:p>
        </p:txBody>
      </p:sp>
      <p:sp>
        <p:nvSpPr>
          <p:cNvPr id="28" name="Freeform 90">
            <a:extLst>
              <a:ext uri="{FF2B5EF4-FFF2-40B4-BE49-F238E27FC236}">
                <a16:creationId xmlns:a16="http://schemas.microsoft.com/office/drawing/2014/main" id="{D1587AF6-60B3-434A-8D01-8B125EF1966C}"/>
              </a:ext>
            </a:extLst>
          </p:cNvPr>
          <p:cNvSpPr>
            <a:spLocks/>
          </p:cNvSpPr>
          <p:nvPr/>
        </p:nvSpPr>
        <p:spPr bwMode="gray">
          <a:xfrm>
            <a:off x="3468863" y="1986588"/>
            <a:ext cx="937619" cy="602479"/>
          </a:xfrm>
          <a:custGeom>
            <a:avLst/>
            <a:gdLst>
              <a:gd name="T0" fmla="*/ 304 w 604"/>
              <a:gd name="T1" fmla="*/ 266 h 407"/>
              <a:gd name="T2" fmla="*/ 604 w 604"/>
              <a:gd name="T3" fmla="*/ 407 h 407"/>
              <a:gd name="T4" fmla="*/ 604 w 604"/>
              <a:gd name="T5" fmla="*/ 407 h 407"/>
              <a:gd name="T6" fmla="*/ 604 w 604"/>
              <a:gd name="T7" fmla="*/ 5 h 407"/>
              <a:gd name="T8" fmla="*/ 304 w 604"/>
              <a:gd name="T9" fmla="*/ 146 h 407"/>
              <a:gd name="T10" fmla="*/ 0 w 604"/>
              <a:gd name="T11" fmla="*/ 0 h 407"/>
              <a:gd name="T12" fmla="*/ 0 w 604"/>
              <a:gd name="T13" fmla="*/ 0 h 407"/>
              <a:gd name="T14" fmla="*/ 0 w 604"/>
              <a:gd name="T15" fmla="*/ 407 h 407"/>
              <a:gd name="T16" fmla="*/ 4 w 604"/>
              <a:gd name="T17" fmla="*/ 407 h 407"/>
              <a:gd name="T18" fmla="*/ 304 w 604"/>
              <a:gd name="T19" fmla="*/ 266 h 4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4" h="407">
                <a:moveTo>
                  <a:pt x="304" y="266"/>
                </a:moveTo>
                <a:cubicBezTo>
                  <a:pt x="425" y="266"/>
                  <a:pt x="532" y="321"/>
                  <a:pt x="604" y="407"/>
                </a:cubicBezTo>
                <a:cubicBezTo>
                  <a:pt x="604" y="407"/>
                  <a:pt x="604" y="407"/>
                  <a:pt x="604" y="407"/>
                </a:cubicBezTo>
                <a:cubicBezTo>
                  <a:pt x="604" y="5"/>
                  <a:pt x="604" y="5"/>
                  <a:pt x="604" y="5"/>
                </a:cubicBezTo>
                <a:cubicBezTo>
                  <a:pt x="532" y="91"/>
                  <a:pt x="425" y="146"/>
                  <a:pt x="304" y="146"/>
                </a:cubicBezTo>
                <a:cubicBezTo>
                  <a:pt x="181" y="146"/>
                  <a:pt x="72" y="89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07"/>
                  <a:pt x="0" y="407"/>
                  <a:pt x="0" y="407"/>
                </a:cubicBezTo>
                <a:cubicBezTo>
                  <a:pt x="4" y="407"/>
                  <a:pt x="4" y="407"/>
                  <a:pt x="4" y="407"/>
                </a:cubicBezTo>
                <a:cubicBezTo>
                  <a:pt x="76" y="321"/>
                  <a:pt x="184" y="266"/>
                  <a:pt x="304" y="266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59" tIns="34280" rIns="68559" bIns="34280" numCol="1" anchor="t" anchorCtr="0" compatLnSpc="1">
            <a:prstTxWarp prst="textNoShape">
              <a:avLst/>
            </a:prstTxWarp>
          </a:bodyPr>
          <a:lstStyle/>
          <a:p>
            <a:pPr defTabSz="685577">
              <a:defRPr/>
            </a:pPr>
            <a:endParaRPr lang="fr-FR" sz="800" kern="0">
              <a:solidFill>
                <a:srgbClr val="434547"/>
              </a:solidFill>
              <a:latin typeface="Delivery"/>
            </a:endParaRPr>
          </a:p>
        </p:txBody>
      </p:sp>
      <p:sp>
        <p:nvSpPr>
          <p:cNvPr id="29" name="Freeform 90">
            <a:extLst>
              <a:ext uri="{FF2B5EF4-FFF2-40B4-BE49-F238E27FC236}">
                <a16:creationId xmlns:a16="http://schemas.microsoft.com/office/drawing/2014/main" id="{1A05BEFA-09DE-4AB0-970E-6E3B3FC649E2}"/>
              </a:ext>
            </a:extLst>
          </p:cNvPr>
          <p:cNvSpPr>
            <a:spLocks/>
          </p:cNvSpPr>
          <p:nvPr/>
        </p:nvSpPr>
        <p:spPr bwMode="gray">
          <a:xfrm>
            <a:off x="4717747" y="1986588"/>
            <a:ext cx="937619" cy="602479"/>
          </a:xfrm>
          <a:custGeom>
            <a:avLst/>
            <a:gdLst>
              <a:gd name="T0" fmla="*/ 304 w 604"/>
              <a:gd name="T1" fmla="*/ 266 h 407"/>
              <a:gd name="T2" fmla="*/ 604 w 604"/>
              <a:gd name="T3" fmla="*/ 407 h 407"/>
              <a:gd name="T4" fmla="*/ 604 w 604"/>
              <a:gd name="T5" fmla="*/ 407 h 407"/>
              <a:gd name="T6" fmla="*/ 604 w 604"/>
              <a:gd name="T7" fmla="*/ 5 h 407"/>
              <a:gd name="T8" fmla="*/ 304 w 604"/>
              <a:gd name="T9" fmla="*/ 146 h 407"/>
              <a:gd name="T10" fmla="*/ 0 w 604"/>
              <a:gd name="T11" fmla="*/ 0 h 407"/>
              <a:gd name="T12" fmla="*/ 0 w 604"/>
              <a:gd name="T13" fmla="*/ 0 h 407"/>
              <a:gd name="T14" fmla="*/ 0 w 604"/>
              <a:gd name="T15" fmla="*/ 407 h 407"/>
              <a:gd name="T16" fmla="*/ 4 w 604"/>
              <a:gd name="T17" fmla="*/ 407 h 407"/>
              <a:gd name="T18" fmla="*/ 304 w 604"/>
              <a:gd name="T19" fmla="*/ 266 h 4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4" h="407">
                <a:moveTo>
                  <a:pt x="304" y="266"/>
                </a:moveTo>
                <a:cubicBezTo>
                  <a:pt x="425" y="266"/>
                  <a:pt x="532" y="321"/>
                  <a:pt x="604" y="407"/>
                </a:cubicBezTo>
                <a:cubicBezTo>
                  <a:pt x="604" y="407"/>
                  <a:pt x="604" y="407"/>
                  <a:pt x="604" y="407"/>
                </a:cubicBezTo>
                <a:cubicBezTo>
                  <a:pt x="604" y="5"/>
                  <a:pt x="604" y="5"/>
                  <a:pt x="604" y="5"/>
                </a:cubicBezTo>
                <a:cubicBezTo>
                  <a:pt x="532" y="91"/>
                  <a:pt x="425" y="146"/>
                  <a:pt x="304" y="146"/>
                </a:cubicBezTo>
                <a:cubicBezTo>
                  <a:pt x="181" y="146"/>
                  <a:pt x="72" y="89"/>
                  <a:pt x="0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07"/>
                  <a:pt x="0" y="407"/>
                  <a:pt x="0" y="407"/>
                </a:cubicBezTo>
                <a:cubicBezTo>
                  <a:pt x="4" y="407"/>
                  <a:pt x="4" y="407"/>
                  <a:pt x="4" y="407"/>
                </a:cubicBezTo>
                <a:cubicBezTo>
                  <a:pt x="76" y="321"/>
                  <a:pt x="184" y="266"/>
                  <a:pt x="304" y="266"/>
                </a:cubicBezTo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59" tIns="34280" rIns="68559" bIns="34280" numCol="1" anchor="t" anchorCtr="0" compatLnSpc="1">
            <a:prstTxWarp prst="textNoShape">
              <a:avLst/>
            </a:prstTxWarp>
          </a:bodyPr>
          <a:lstStyle/>
          <a:p>
            <a:pPr defTabSz="685577">
              <a:defRPr/>
            </a:pPr>
            <a:endParaRPr lang="fr-FR" sz="800" kern="0">
              <a:solidFill>
                <a:srgbClr val="434547"/>
              </a:solidFill>
              <a:latin typeface="Delivery"/>
            </a:endParaRPr>
          </a:p>
        </p:txBody>
      </p:sp>
      <p:sp>
        <p:nvSpPr>
          <p:cNvPr id="30" name="Rectangle 9">
            <a:extLst>
              <a:ext uri="{FF2B5EF4-FFF2-40B4-BE49-F238E27FC236}">
                <a16:creationId xmlns:a16="http://schemas.microsoft.com/office/drawing/2014/main" id="{0D48F46E-C02B-4222-B657-C15C7989EC10}"/>
              </a:ext>
            </a:extLst>
          </p:cNvPr>
          <p:cNvSpPr/>
          <p:nvPr/>
        </p:nvSpPr>
        <p:spPr bwMode="gray">
          <a:xfrm>
            <a:off x="332706" y="1114724"/>
            <a:ext cx="1007689" cy="3250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54847" tIns="13712" rIns="41135" bIns="13712" rtlCol="0" anchor="ctr"/>
          <a:lstStyle/>
          <a:p>
            <a:pPr algn="ctr" defTabSz="685577">
              <a:defRPr/>
            </a:pPr>
            <a:r>
              <a:rPr lang="fr-FR" sz="1050" b="1" kern="0">
                <a:solidFill>
                  <a:srgbClr val="007C39"/>
                </a:solidFill>
                <a:latin typeface="Delivery"/>
                <a:cs typeface="Arial" panose="020B0604020202020204" pitchFamily="34" charset="0"/>
              </a:rPr>
              <a:t>2008</a:t>
            </a:r>
          </a:p>
        </p:txBody>
      </p:sp>
      <p:sp>
        <p:nvSpPr>
          <p:cNvPr id="31" name="Rectangle 11">
            <a:extLst>
              <a:ext uri="{FF2B5EF4-FFF2-40B4-BE49-F238E27FC236}">
                <a16:creationId xmlns:a16="http://schemas.microsoft.com/office/drawing/2014/main" id="{077CE31E-016F-4A1D-858F-AF17BEF20C62}"/>
              </a:ext>
            </a:extLst>
          </p:cNvPr>
          <p:cNvSpPr/>
          <p:nvPr/>
        </p:nvSpPr>
        <p:spPr bwMode="gray">
          <a:xfrm>
            <a:off x="1576532" y="1114724"/>
            <a:ext cx="1007689" cy="3250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54847" tIns="13712" rIns="41135" bIns="13712" rtlCol="0" anchor="ctr"/>
          <a:lstStyle/>
          <a:p>
            <a:pPr algn="ctr" defTabSz="685577">
              <a:defRPr/>
            </a:pPr>
            <a:r>
              <a:rPr lang="fr-FR" sz="1050" b="1" kern="0">
                <a:solidFill>
                  <a:srgbClr val="007C39"/>
                </a:solidFill>
                <a:latin typeface="Delivery"/>
                <a:cs typeface="Arial" panose="020B0604020202020204" pitchFamily="34" charset="0"/>
              </a:rPr>
              <a:t>2010</a:t>
            </a:r>
          </a:p>
        </p:txBody>
      </p:sp>
      <p:sp>
        <p:nvSpPr>
          <p:cNvPr id="32" name="Rectangle 13">
            <a:extLst>
              <a:ext uri="{FF2B5EF4-FFF2-40B4-BE49-F238E27FC236}">
                <a16:creationId xmlns:a16="http://schemas.microsoft.com/office/drawing/2014/main" id="{B2F7E020-A67E-4570-BCE9-F52D54E74735}"/>
              </a:ext>
            </a:extLst>
          </p:cNvPr>
          <p:cNvSpPr/>
          <p:nvPr/>
        </p:nvSpPr>
        <p:spPr bwMode="gray">
          <a:xfrm>
            <a:off x="2820358" y="1114724"/>
            <a:ext cx="1007689" cy="3250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54847" tIns="13712" rIns="41135" bIns="13712" rtlCol="0" anchor="ctr"/>
          <a:lstStyle/>
          <a:p>
            <a:pPr algn="ctr" defTabSz="685577">
              <a:defRPr/>
            </a:pPr>
            <a:r>
              <a:rPr lang="fr-FR" sz="1050" b="1" kern="0">
                <a:solidFill>
                  <a:srgbClr val="007C39"/>
                </a:solidFill>
                <a:latin typeface="Delivery"/>
                <a:cs typeface="Arial" panose="020B0604020202020204" pitchFamily="34" charset="0"/>
              </a:rPr>
              <a:t>2014</a:t>
            </a:r>
          </a:p>
        </p:txBody>
      </p:sp>
      <p:sp>
        <p:nvSpPr>
          <p:cNvPr id="33" name="Rectangle 15">
            <a:extLst>
              <a:ext uri="{FF2B5EF4-FFF2-40B4-BE49-F238E27FC236}">
                <a16:creationId xmlns:a16="http://schemas.microsoft.com/office/drawing/2014/main" id="{DD2D8D47-028B-4E1F-B6B2-BC71EA02F0C4}"/>
              </a:ext>
            </a:extLst>
          </p:cNvPr>
          <p:cNvSpPr/>
          <p:nvPr/>
        </p:nvSpPr>
        <p:spPr bwMode="gray">
          <a:xfrm>
            <a:off x="4064184" y="1114724"/>
            <a:ext cx="1007689" cy="3250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54847" tIns="13712" rIns="41135" bIns="13712" rtlCol="0" anchor="ctr"/>
          <a:lstStyle/>
          <a:p>
            <a:pPr algn="ctr" defTabSz="685577">
              <a:defRPr/>
            </a:pPr>
            <a:r>
              <a:rPr lang="fr-FR" sz="1050" b="1" kern="0">
                <a:solidFill>
                  <a:srgbClr val="007C39"/>
                </a:solidFill>
                <a:latin typeface="Delivery"/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34" name="Rectangle 17">
            <a:extLst>
              <a:ext uri="{FF2B5EF4-FFF2-40B4-BE49-F238E27FC236}">
                <a16:creationId xmlns:a16="http://schemas.microsoft.com/office/drawing/2014/main" id="{EC6CAC98-4A87-4474-8152-A1402D459840}"/>
              </a:ext>
            </a:extLst>
          </p:cNvPr>
          <p:cNvSpPr/>
          <p:nvPr/>
        </p:nvSpPr>
        <p:spPr bwMode="gray">
          <a:xfrm>
            <a:off x="5308011" y="1114724"/>
            <a:ext cx="1007689" cy="3250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54847" tIns="13712" rIns="41135" bIns="13712" rtlCol="0" anchor="ctr"/>
          <a:lstStyle/>
          <a:p>
            <a:pPr algn="ctr" defTabSz="685577">
              <a:defRPr/>
            </a:pPr>
            <a:r>
              <a:rPr lang="fr-FR" sz="1050" b="1" kern="0">
                <a:solidFill>
                  <a:srgbClr val="007C39"/>
                </a:solidFill>
                <a:latin typeface="Delivery"/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35" name="Rectangle 18">
            <a:extLst>
              <a:ext uri="{FF2B5EF4-FFF2-40B4-BE49-F238E27FC236}">
                <a16:creationId xmlns:a16="http://schemas.microsoft.com/office/drawing/2014/main" id="{50616E45-C68D-4D58-83D7-9C0057FCD2ED}"/>
              </a:ext>
            </a:extLst>
          </p:cNvPr>
          <p:cNvSpPr/>
          <p:nvPr/>
        </p:nvSpPr>
        <p:spPr bwMode="gray">
          <a:xfrm>
            <a:off x="6551835" y="1114724"/>
            <a:ext cx="1007689" cy="3250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54847" tIns="13712" rIns="41135" bIns="13712" rtlCol="0" anchor="ctr"/>
          <a:lstStyle/>
          <a:p>
            <a:pPr algn="ctr" defTabSz="685577">
              <a:defRPr/>
            </a:pPr>
            <a:r>
              <a:rPr lang="fr-FR" sz="1050" b="1" kern="0">
                <a:solidFill>
                  <a:srgbClr val="007C39"/>
                </a:solidFill>
                <a:latin typeface="Delivery"/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64" name="Oval 47">
            <a:extLst>
              <a:ext uri="{FF2B5EF4-FFF2-40B4-BE49-F238E27FC236}">
                <a16:creationId xmlns:a16="http://schemas.microsoft.com/office/drawing/2014/main" id="{F83A4603-BD50-49E4-B488-55097B4FD992}"/>
              </a:ext>
            </a:extLst>
          </p:cNvPr>
          <p:cNvSpPr/>
          <p:nvPr/>
        </p:nvSpPr>
        <p:spPr bwMode="gray">
          <a:xfrm>
            <a:off x="2001952" y="1441077"/>
            <a:ext cx="124793" cy="124793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577">
              <a:defRPr/>
            </a:pPr>
            <a:endParaRPr lang="fr-FR" sz="800" kern="0">
              <a:solidFill>
                <a:prstClr val="white"/>
              </a:solidFill>
              <a:latin typeface="Delivery"/>
            </a:endParaRPr>
          </a:p>
        </p:txBody>
      </p:sp>
      <p:cxnSp>
        <p:nvCxnSpPr>
          <p:cNvPr id="65" name="Straight Connector 48">
            <a:extLst>
              <a:ext uri="{FF2B5EF4-FFF2-40B4-BE49-F238E27FC236}">
                <a16:creationId xmlns:a16="http://schemas.microsoft.com/office/drawing/2014/main" id="{2E75FFE6-D1C8-4C75-ACA5-E28D9B176D75}"/>
              </a:ext>
            </a:extLst>
          </p:cNvPr>
          <p:cNvCxnSpPr/>
          <p:nvPr/>
        </p:nvCxnSpPr>
        <p:spPr bwMode="gray">
          <a:xfrm>
            <a:off x="2064347" y="1565868"/>
            <a:ext cx="0" cy="413645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headEnd type="none" w="sm" len="sm"/>
            <a:tailEnd type="none" w="sm" len="sm"/>
          </a:ln>
          <a:effectLst/>
        </p:spPr>
      </p:cxnSp>
      <p:sp>
        <p:nvSpPr>
          <p:cNvPr id="66" name="Oval 49">
            <a:extLst>
              <a:ext uri="{FF2B5EF4-FFF2-40B4-BE49-F238E27FC236}">
                <a16:creationId xmlns:a16="http://schemas.microsoft.com/office/drawing/2014/main" id="{7573BFA3-86C2-4AA2-8CD8-B721EEF772B7}"/>
              </a:ext>
            </a:extLst>
          </p:cNvPr>
          <p:cNvSpPr/>
          <p:nvPr/>
        </p:nvSpPr>
        <p:spPr bwMode="gray">
          <a:xfrm>
            <a:off x="1734011" y="1957490"/>
            <a:ext cx="660672" cy="660672"/>
          </a:xfrm>
          <a:prstGeom prst="ellipse">
            <a:avLst/>
          </a:prstGeom>
          <a:solidFill>
            <a:schemeClr val="bg1"/>
          </a:solidFill>
          <a:ln w="508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algn="ctr" defTabSz="685577">
              <a:defRPr/>
            </a:pPr>
            <a:endParaRPr lang="fr-FR" sz="800" kern="0">
              <a:solidFill>
                <a:prstClr val="white"/>
              </a:solidFill>
              <a:latin typeface="Delivery"/>
            </a:endParaRPr>
          </a:p>
        </p:txBody>
      </p:sp>
      <p:grpSp>
        <p:nvGrpSpPr>
          <p:cNvPr id="67" name="Group 50">
            <a:extLst>
              <a:ext uri="{FF2B5EF4-FFF2-40B4-BE49-F238E27FC236}">
                <a16:creationId xmlns:a16="http://schemas.microsoft.com/office/drawing/2014/main" id="{C1A5FC19-F352-42D0-8DAE-0B22EDEC02C2}"/>
              </a:ext>
            </a:extLst>
          </p:cNvPr>
          <p:cNvGrpSpPr/>
          <p:nvPr/>
        </p:nvGrpSpPr>
        <p:grpSpPr bwMode="gray">
          <a:xfrm flipV="1">
            <a:off x="1711084" y="2513964"/>
            <a:ext cx="706532" cy="634124"/>
            <a:chOff x="857251" y="2219326"/>
            <a:chExt cx="511175" cy="458788"/>
          </a:xfrm>
          <a:solidFill>
            <a:schemeClr val="accent2"/>
          </a:solidFill>
        </p:grpSpPr>
        <p:sp>
          <p:nvSpPr>
            <p:cNvPr id="68" name="Oval 106">
              <a:extLst>
                <a:ext uri="{FF2B5EF4-FFF2-40B4-BE49-F238E27FC236}">
                  <a16:creationId xmlns:a16="http://schemas.microsoft.com/office/drawing/2014/main" id="{67E00D72-CBCA-41A8-AC19-97024493FBE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87438" y="2219326"/>
              <a:ext cx="50800" cy="508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69" name="Oval 107">
              <a:extLst>
                <a:ext uri="{FF2B5EF4-FFF2-40B4-BE49-F238E27FC236}">
                  <a16:creationId xmlns:a16="http://schemas.microsoft.com/office/drawing/2014/main" id="{F8D2C117-E1A9-46C1-A5F6-AE4366AECB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538414"/>
              <a:ext cx="17463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70" name="Oval 108">
              <a:extLst>
                <a:ext uri="{FF2B5EF4-FFF2-40B4-BE49-F238E27FC236}">
                  <a16:creationId xmlns:a16="http://schemas.microsoft.com/office/drawing/2014/main" id="{6E631076-B22F-40AF-A376-E57BE30C730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498726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71" name="Oval 109">
              <a:extLst>
                <a:ext uri="{FF2B5EF4-FFF2-40B4-BE49-F238E27FC236}">
                  <a16:creationId xmlns:a16="http://schemas.microsoft.com/office/drawing/2014/main" id="{0919BC89-71D8-496A-8214-6EAB70B606E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457451"/>
              <a:ext cx="17463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72" name="Oval 110">
              <a:extLst>
                <a:ext uri="{FF2B5EF4-FFF2-40B4-BE49-F238E27FC236}">
                  <a16:creationId xmlns:a16="http://schemas.microsoft.com/office/drawing/2014/main" id="{51669F6B-63CB-47C0-ABE8-8DAEC80A7F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333626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73" name="Oval 111">
              <a:extLst>
                <a:ext uri="{FF2B5EF4-FFF2-40B4-BE49-F238E27FC236}">
                  <a16:creationId xmlns:a16="http://schemas.microsoft.com/office/drawing/2014/main" id="{F2E06A3D-5ADE-48C7-B710-902A9E91033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293939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74" name="Oval 112">
              <a:extLst>
                <a:ext uri="{FF2B5EF4-FFF2-40B4-BE49-F238E27FC236}">
                  <a16:creationId xmlns:a16="http://schemas.microsoft.com/office/drawing/2014/main" id="{BCE58CCE-1263-4AAC-BC88-3464C5AC8C8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414589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75" name="Oval 113">
              <a:extLst>
                <a:ext uri="{FF2B5EF4-FFF2-40B4-BE49-F238E27FC236}">
                  <a16:creationId xmlns:a16="http://schemas.microsoft.com/office/drawing/2014/main" id="{4A7F7B6E-1405-455D-AFA0-CF9D1424425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373314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76" name="Freeform 114">
              <a:extLst>
                <a:ext uri="{FF2B5EF4-FFF2-40B4-BE49-F238E27FC236}">
                  <a16:creationId xmlns:a16="http://schemas.microsoft.com/office/drawing/2014/main" id="{BCEA8188-0579-4F9D-8013-A093CCEBDC2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62038" y="2541589"/>
              <a:ext cx="19050" cy="17463"/>
            </a:xfrm>
            <a:custGeom>
              <a:avLst/>
              <a:gdLst>
                <a:gd name="T0" fmla="*/ 21 w 21"/>
                <a:gd name="T1" fmla="*/ 9 h 21"/>
                <a:gd name="T2" fmla="*/ 12 w 21"/>
                <a:gd name="T3" fmla="*/ 20 h 21"/>
                <a:gd name="T4" fmla="*/ 1 w 21"/>
                <a:gd name="T5" fmla="*/ 12 h 21"/>
                <a:gd name="T6" fmla="*/ 9 w 21"/>
                <a:gd name="T7" fmla="*/ 0 h 21"/>
                <a:gd name="T8" fmla="*/ 21 w 21"/>
                <a:gd name="T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21" y="9"/>
                  </a:moveTo>
                  <a:cubicBezTo>
                    <a:pt x="21" y="15"/>
                    <a:pt x="18" y="20"/>
                    <a:pt x="12" y="20"/>
                  </a:cubicBezTo>
                  <a:cubicBezTo>
                    <a:pt x="6" y="21"/>
                    <a:pt x="1" y="17"/>
                    <a:pt x="1" y="12"/>
                  </a:cubicBezTo>
                  <a:cubicBezTo>
                    <a:pt x="0" y="6"/>
                    <a:pt x="4" y="1"/>
                    <a:pt x="9" y="0"/>
                  </a:cubicBezTo>
                  <a:cubicBezTo>
                    <a:pt x="15" y="0"/>
                    <a:pt x="20" y="4"/>
                    <a:pt x="2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77" name="Freeform 115">
              <a:extLst>
                <a:ext uri="{FF2B5EF4-FFF2-40B4-BE49-F238E27FC236}">
                  <a16:creationId xmlns:a16="http://schemas.microsoft.com/office/drawing/2014/main" id="{6B446588-C705-49D2-89D6-ACA66B6F4880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2351" y="2547939"/>
              <a:ext cx="20638" cy="20638"/>
            </a:xfrm>
            <a:custGeom>
              <a:avLst/>
              <a:gdLst>
                <a:gd name="T0" fmla="*/ 21 w 23"/>
                <a:gd name="T1" fmla="*/ 9 h 23"/>
                <a:gd name="T2" fmla="*/ 14 w 23"/>
                <a:gd name="T3" fmla="*/ 21 h 23"/>
                <a:gd name="T4" fmla="*/ 1 w 23"/>
                <a:gd name="T5" fmla="*/ 14 h 23"/>
                <a:gd name="T6" fmla="*/ 9 w 23"/>
                <a:gd name="T7" fmla="*/ 2 h 23"/>
                <a:gd name="T8" fmla="*/ 21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1" y="9"/>
                  </a:moveTo>
                  <a:cubicBezTo>
                    <a:pt x="23" y="14"/>
                    <a:pt x="19" y="20"/>
                    <a:pt x="14" y="21"/>
                  </a:cubicBezTo>
                  <a:cubicBezTo>
                    <a:pt x="8" y="23"/>
                    <a:pt x="3" y="19"/>
                    <a:pt x="1" y="14"/>
                  </a:cubicBezTo>
                  <a:cubicBezTo>
                    <a:pt x="0" y="9"/>
                    <a:pt x="3" y="3"/>
                    <a:pt x="9" y="2"/>
                  </a:cubicBezTo>
                  <a:cubicBezTo>
                    <a:pt x="14" y="0"/>
                    <a:pt x="20" y="3"/>
                    <a:pt x="2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78" name="Freeform 116">
              <a:extLst>
                <a:ext uri="{FF2B5EF4-FFF2-40B4-BE49-F238E27FC236}">
                  <a16:creationId xmlns:a16="http://schemas.microsoft.com/office/drawing/2014/main" id="{8C66BBF5-5F9E-4DCD-94AC-ABD70B97CA39}"/>
                </a:ext>
              </a:extLst>
            </p:cNvPr>
            <p:cNvSpPr>
              <a:spLocks/>
            </p:cNvSpPr>
            <p:nvPr/>
          </p:nvSpPr>
          <p:spPr bwMode="gray">
            <a:xfrm>
              <a:off x="984251" y="2560639"/>
              <a:ext cx="19050" cy="20638"/>
            </a:xfrm>
            <a:custGeom>
              <a:avLst/>
              <a:gdLst>
                <a:gd name="T0" fmla="*/ 21 w 23"/>
                <a:gd name="T1" fmla="*/ 7 h 23"/>
                <a:gd name="T2" fmla="*/ 15 w 23"/>
                <a:gd name="T3" fmla="*/ 21 h 23"/>
                <a:gd name="T4" fmla="*/ 2 w 23"/>
                <a:gd name="T5" fmla="*/ 15 h 23"/>
                <a:gd name="T6" fmla="*/ 8 w 23"/>
                <a:gd name="T7" fmla="*/ 2 h 23"/>
                <a:gd name="T8" fmla="*/ 21 w 23"/>
                <a:gd name="T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1" y="7"/>
                  </a:moveTo>
                  <a:cubicBezTo>
                    <a:pt x="23" y="13"/>
                    <a:pt x="21" y="19"/>
                    <a:pt x="15" y="21"/>
                  </a:cubicBezTo>
                  <a:cubicBezTo>
                    <a:pt x="10" y="23"/>
                    <a:pt x="4" y="20"/>
                    <a:pt x="2" y="15"/>
                  </a:cubicBezTo>
                  <a:cubicBezTo>
                    <a:pt x="0" y="10"/>
                    <a:pt x="2" y="4"/>
                    <a:pt x="8" y="2"/>
                  </a:cubicBezTo>
                  <a:cubicBezTo>
                    <a:pt x="13" y="0"/>
                    <a:pt x="19" y="2"/>
                    <a:pt x="2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79" name="Freeform 117">
              <a:extLst>
                <a:ext uri="{FF2B5EF4-FFF2-40B4-BE49-F238E27FC236}">
                  <a16:creationId xmlns:a16="http://schemas.microsoft.com/office/drawing/2014/main" id="{120E1830-A946-4026-A05F-749544A5F8B2}"/>
                </a:ext>
              </a:extLst>
            </p:cNvPr>
            <p:cNvSpPr>
              <a:spLocks/>
            </p:cNvSpPr>
            <p:nvPr/>
          </p:nvSpPr>
          <p:spPr bwMode="gray">
            <a:xfrm>
              <a:off x="946151" y="2578101"/>
              <a:ext cx="22225" cy="20638"/>
            </a:xfrm>
            <a:custGeom>
              <a:avLst/>
              <a:gdLst>
                <a:gd name="T0" fmla="*/ 21 w 24"/>
                <a:gd name="T1" fmla="*/ 7 h 23"/>
                <a:gd name="T2" fmla="*/ 17 w 24"/>
                <a:gd name="T3" fmla="*/ 21 h 23"/>
                <a:gd name="T4" fmla="*/ 3 w 24"/>
                <a:gd name="T5" fmla="*/ 17 h 23"/>
                <a:gd name="T6" fmla="*/ 7 w 24"/>
                <a:gd name="T7" fmla="*/ 3 h 23"/>
                <a:gd name="T8" fmla="*/ 21 w 24"/>
                <a:gd name="T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21" y="7"/>
                  </a:moveTo>
                  <a:cubicBezTo>
                    <a:pt x="24" y="12"/>
                    <a:pt x="22" y="18"/>
                    <a:pt x="17" y="21"/>
                  </a:cubicBezTo>
                  <a:cubicBezTo>
                    <a:pt x="12" y="23"/>
                    <a:pt x="6" y="22"/>
                    <a:pt x="3" y="17"/>
                  </a:cubicBezTo>
                  <a:cubicBezTo>
                    <a:pt x="0" y="12"/>
                    <a:pt x="2" y="6"/>
                    <a:pt x="7" y="3"/>
                  </a:cubicBezTo>
                  <a:cubicBezTo>
                    <a:pt x="12" y="0"/>
                    <a:pt x="18" y="2"/>
                    <a:pt x="2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80" name="Freeform 118">
              <a:extLst>
                <a:ext uri="{FF2B5EF4-FFF2-40B4-BE49-F238E27FC236}">
                  <a16:creationId xmlns:a16="http://schemas.microsoft.com/office/drawing/2014/main" id="{FAD77736-3080-47B4-8766-520E3E5D1037}"/>
                </a:ext>
              </a:extLst>
            </p:cNvPr>
            <p:cNvSpPr>
              <a:spLocks/>
            </p:cNvSpPr>
            <p:nvPr/>
          </p:nvSpPr>
          <p:spPr bwMode="gray">
            <a:xfrm>
              <a:off x="912813" y="2601914"/>
              <a:ext cx="20638" cy="19050"/>
            </a:xfrm>
            <a:custGeom>
              <a:avLst/>
              <a:gdLst>
                <a:gd name="T0" fmla="*/ 20 w 23"/>
                <a:gd name="T1" fmla="*/ 5 h 23"/>
                <a:gd name="T2" fmla="*/ 18 w 23"/>
                <a:gd name="T3" fmla="*/ 20 h 23"/>
                <a:gd name="T4" fmla="*/ 3 w 23"/>
                <a:gd name="T5" fmla="*/ 18 h 23"/>
                <a:gd name="T6" fmla="*/ 5 w 23"/>
                <a:gd name="T7" fmla="*/ 3 h 23"/>
                <a:gd name="T8" fmla="*/ 20 w 23"/>
                <a:gd name="T9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0" y="5"/>
                  </a:moveTo>
                  <a:cubicBezTo>
                    <a:pt x="23" y="10"/>
                    <a:pt x="22" y="16"/>
                    <a:pt x="18" y="20"/>
                  </a:cubicBezTo>
                  <a:cubicBezTo>
                    <a:pt x="13" y="23"/>
                    <a:pt x="7" y="22"/>
                    <a:pt x="3" y="18"/>
                  </a:cubicBezTo>
                  <a:cubicBezTo>
                    <a:pt x="0" y="13"/>
                    <a:pt x="1" y="7"/>
                    <a:pt x="5" y="3"/>
                  </a:cubicBezTo>
                  <a:cubicBezTo>
                    <a:pt x="10" y="0"/>
                    <a:pt x="16" y="1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81" name="Freeform 119">
              <a:extLst>
                <a:ext uri="{FF2B5EF4-FFF2-40B4-BE49-F238E27FC236}">
                  <a16:creationId xmlns:a16="http://schemas.microsoft.com/office/drawing/2014/main" id="{80BA4041-B1EC-4120-8611-CE55E6BF0C31}"/>
                </a:ext>
              </a:extLst>
            </p:cNvPr>
            <p:cNvSpPr>
              <a:spLocks/>
            </p:cNvSpPr>
            <p:nvPr/>
          </p:nvSpPr>
          <p:spPr bwMode="gray">
            <a:xfrm>
              <a:off x="884238" y="2628901"/>
              <a:ext cx="19050" cy="19050"/>
            </a:xfrm>
            <a:custGeom>
              <a:avLst/>
              <a:gdLst>
                <a:gd name="T0" fmla="*/ 18 w 22"/>
                <a:gd name="T1" fmla="*/ 4 h 22"/>
                <a:gd name="T2" fmla="*/ 18 w 22"/>
                <a:gd name="T3" fmla="*/ 18 h 22"/>
                <a:gd name="T4" fmla="*/ 4 w 22"/>
                <a:gd name="T5" fmla="*/ 18 h 22"/>
                <a:gd name="T6" fmla="*/ 4 w 22"/>
                <a:gd name="T7" fmla="*/ 4 h 22"/>
                <a:gd name="T8" fmla="*/ 18 w 22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8" y="4"/>
                  </a:moveTo>
                  <a:cubicBezTo>
                    <a:pt x="22" y="8"/>
                    <a:pt x="22" y="14"/>
                    <a:pt x="18" y="18"/>
                  </a:cubicBezTo>
                  <a:cubicBezTo>
                    <a:pt x="14" y="22"/>
                    <a:pt x="8" y="22"/>
                    <a:pt x="4" y="18"/>
                  </a:cubicBezTo>
                  <a:cubicBezTo>
                    <a:pt x="0" y="14"/>
                    <a:pt x="0" y="8"/>
                    <a:pt x="4" y="4"/>
                  </a:cubicBezTo>
                  <a:cubicBezTo>
                    <a:pt x="8" y="0"/>
                    <a:pt x="14" y="0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82" name="Freeform 120">
              <a:extLst>
                <a:ext uri="{FF2B5EF4-FFF2-40B4-BE49-F238E27FC236}">
                  <a16:creationId xmlns:a16="http://schemas.microsoft.com/office/drawing/2014/main" id="{79675411-6F44-44AE-A6BD-D9771A7FD089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251" y="2659064"/>
              <a:ext cx="19050" cy="19050"/>
            </a:xfrm>
            <a:custGeom>
              <a:avLst/>
              <a:gdLst>
                <a:gd name="T0" fmla="*/ 18 w 23"/>
                <a:gd name="T1" fmla="*/ 4 h 23"/>
                <a:gd name="T2" fmla="*/ 19 w 23"/>
                <a:gd name="T3" fmla="*/ 18 h 23"/>
                <a:gd name="T4" fmla="*/ 5 w 23"/>
                <a:gd name="T5" fmla="*/ 20 h 23"/>
                <a:gd name="T6" fmla="*/ 3 w 23"/>
                <a:gd name="T7" fmla="*/ 5 h 23"/>
                <a:gd name="T8" fmla="*/ 18 w 23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8" y="4"/>
                  </a:moveTo>
                  <a:cubicBezTo>
                    <a:pt x="22" y="7"/>
                    <a:pt x="23" y="13"/>
                    <a:pt x="19" y="18"/>
                  </a:cubicBezTo>
                  <a:cubicBezTo>
                    <a:pt x="16" y="22"/>
                    <a:pt x="10" y="23"/>
                    <a:pt x="5" y="20"/>
                  </a:cubicBezTo>
                  <a:cubicBezTo>
                    <a:pt x="1" y="16"/>
                    <a:pt x="0" y="10"/>
                    <a:pt x="3" y="5"/>
                  </a:cubicBezTo>
                  <a:cubicBezTo>
                    <a:pt x="7" y="1"/>
                    <a:pt x="13" y="0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83" name="Freeform 121">
              <a:extLst>
                <a:ext uri="{FF2B5EF4-FFF2-40B4-BE49-F238E27FC236}">
                  <a16:creationId xmlns:a16="http://schemas.microsoft.com/office/drawing/2014/main" id="{919EF9F6-DE9E-4A9E-8AC0-02E779BF9118}"/>
                </a:ext>
              </a:extLst>
            </p:cNvPr>
            <p:cNvSpPr>
              <a:spLocks/>
            </p:cNvSpPr>
            <p:nvPr/>
          </p:nvSpPr>
          <p:spPr bwMode="gray">
            <a:xfrm>
              <a:off x="884238" y="2628901"/>
              <a:ext cx="19050" cy="19050"/>
            </a:xfrm>
            <a:custGeom>
              <a:avLst/>
              <a:gdLst>
                <a:gd name="T0" fmla="*/ 18 w 22"/>
                <a:gd name="T1" fmla="*/ 4 h 22"/>
                <a:gd name="T2" fmla="*/ 18 w 22"/>
                <a:gd name="T3" fmla="*/ 18 h 22"/>
                <a:gd name="T4" fmla="*/ 4 w 22"/>
                <a:gd name="T5" fmla="*/ 18 h 22"/>
                <a:gd name="T6" fmla="*/ 4 w 22"/>
                <a:gd name="T7" fmla="*/ 4 h 22"/>
                <a:gd name="T8" fmla="*/ 18 w 22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8" y="4"/>
                  </a:moveTo>
                  <a:cubicBezTo>
                    <a:pt x="22" y="8"/>
                    <a:pt x="22" y="14"/>
                    <a:pt x="18" y="18"/>
                  </a:cubicBezTo>
                  <a:cubicBezTo>
                    <a:pt x="14" y="22"/>
                    <a:pt x="8" y="22"/>
                    <a:pt x="4" y="18"/>
                  </a:cubicBezTo>
                  <a:cubicBezTo>
                    <a:pt x="0" y="14"/>
                    <a:pt x="0" y="8"/>
                    <a:pt x="4" y="4"/>
                  </a:cubicBezTo>
                  <a:cubicBezTo>
                    <a:pt x="8" y="0"/>
                    <a:pt x="14" y="0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84" name="Freeform 122">
              <a:extLst>
                <a:ext uri="{FF2B5EF4-FFF2-40B4-BE49-F238E27FC236}">
                  <a16:creationId xmlns:a16="http://schemas.microsoft.com/office/drawing/2014/main" id="{610D5032-C32F-4CE8-95FF-318555243465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251" y="2659064"/>
              <a:ext cx="19050" cy="19050"/>
            </a:xfrm>
            <a:custGeom>
              <a:avLst/>
              <a:gdLst>
                <a:gd name="T0" fmla="*/ 18 w 23"/>
                <a:gd name="T1" fmla="*/ 4 h 23"/>
                <a:gd name="T2" fmla="*/ 19 w 23"/>
                <a:gd name="T3" fmla="*/ 18 h 23"/>
                <a:gd name="T4" fmla="*/ 5 w 23"/>
                <a:gd name="T5" fmla="*/ 20 h 23"/>
                <a:gd name="T6" fmla="*/ 3 w 23"/>
                <a:gd name="T7" fmla="*/ 5 h 23"/>
                <a:gd name="T8" fmla="*/ 18 w 23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8" y="4"/>
                  </a:moveTo>
                  <a:cubicBezTo>
                    <a:pt x="22" y="7"/>
                    <a:pt x="23" y="13"/>
                    <a:pt x="19" y="18"/>
                  </a:cubicBezTo>
                  <a:cubicBezTo>
                    <a:pt x="16" y="22"/>
                    <a:pt x="10" y="23"/>
                    <a:pt x="5" y="20"/>
                  </a:cubicBezTo>
                  <a:cubicBezTo>
                    <a:pt x="1" y="16"/>
                    <a:pt x="0" y="10"/>
                    <a:pt x="3" y="5"/>
                  </a:cubicBezTo>
                  <a:cubicBezTo>
                    <a:pt x="7" y="1"/>
                    <a:pt x="13" y="0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85" name="Freeform 123">
              <a:extLst>
                <a:ext uri="{FF2B5EF4-FFF2-40B4-BE49-F238E27FC236}">
                  <a16:creationId xmlns:a16="http://schemas.microsoft.com/office/drawing/2014/main" id="{B3EF96AB-1CB9-4B3D-A72C-E0EC199428CB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3001" y="2541589"/>
              <a:ext cx="19050" cy="17463"/>
            </a:xfrm>
            <a:custGeom>
              <a:avLst/>
              <a:gdLst>
                <a:gd name="T0" fmla="*/ 1 w 22"/>
                <a:gd name="T1" fmla="*/ 9 h 21"/>
                <a:gd name="T2" fmla="*/ 10 w 22"/>
                <a:gd name="T3" fmla="*/ 20 h 21"/>
                <a:gd name="T4" fmla="*/ 21 w 22"/>
                <a:gd name="T5" fmla="*/ 12 h 21"/>
                <a:gd name="T6" fmla="*/ 12 w 22"/>
                <a:gd name="T7" fmla="*/ 0 h 21"/>
                <a:gd name="T8" fmla="*/ 1 w 22"/>
                <a:gd name="T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1">
                  <a:moveTo>
                    <a:pt x="1" y="9"/>
                  </a:moveTo>
                  <a:cubicBezTo>
                    <a:pt x="0" y="15"/>
                    <a:pt x="4" y="20"/>
                    <a:pt x="10" y="20"/>
                  </a:cubicBezTo>
                  <a:cubicBezTo>
                    <a:pt x="15" y="21"/>
                    <a:pt x="20" y="17"/>
                    <a:pt x="21" y="12"/>
                  </a:cubicBezTo>
                  <a:cubicBezTo>
                    <a:pt x="22" y="6"/>
                    <a:pt x="18" y="1"/>
                    <a:pt x="12" y="0"/>
                  </a:cubicBezTo>
                  <a:cubicBezTo>
                    <a:pt x="7" y="0"/>
                    <a:pt x="2" y="4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86" name="Freeform 124">
              <a:extLst>
                <a:ext uri="{FF2B5EF4-FFF2-40B4-BE49-F238E27FC236}">
                  <a16:creationId xmlns:a16="http://schemas.microsoft.com/office/drawing/2014/main" id="{93C676C5-4513-4B4F-9185-8CFAD382314F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2688" y="2547939"/>
              <a:ext cx="19050" cy="20638"/>
            </a:xfrm>
            <a:custGeom>
              <a:avLst/>
              <a:gdLst>
                <a:gd name="T0" fmla="*/ 1 w 23"/>
                <a:gd name="T1" fmla="*/ 9 h 23"/>
                <a:gd name="T2" fmla="*/ 9 w 23"/>
                <a:gd name="T3" fmla="*/ 21 h 23"/>
                <a:gd name="T4" fmla="*/ 21 w 23"/>
                <a:gd name="T5" fmla="*/ 14 h 23"/>
                <a:gd name="T6" fmla="*/ 14 w 23"/>
                <a:gd name="T7" fmla="*/ 2 h 23"/>
                <a:gd name="T8" fmla="*/ 1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9"/>
                  </a:moveTo>
                  <a:cubicBezTo>
                    <a:pt x="0" y="14"/>
                    <a:pt x="3" y="20"/>
                    <a:pt x="9" y="21"/>
                  </a:cubicBezTo>
                  <a:cubicBezTo>
                    <a:pt x="14" y="23"/>
                    <a:pt x="20" y="19"/>
                    <a:pt x="21" y="14"/>
                  </a:cubicBezTo>
                  <a:cubicBezTo>
                    <a:pt x="23" y="9"/>
                    <a:pt x="19" y="3"/>
                    <a:pt x="14" y="2"/>
                  </a:cubicBezTo>
                  <a:cubicBezTo>
                    <a:pt x="8" y="0"/>
                    <a:pt x="3" y="3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87" name="Freeform 125">
              <a:extLst>
                <a:ext uri="{FF2B5EF4-FFF2-40B4-BE49-F238E27FC236}">
                  <a16:creationId xmlns:a16="http://schemas.microsoft.com/office/drawing/2014/main" id="{7608DB7D-7418-4389-AFDA-49C5F5000617}"/>
                </a:ext>
              </a:extLst>
            </p:cNvPr>
            <p:cNvSpPr>
              <a:spLocks/>
            </p:cNvSpPr>
            <p:nvPr/>
          </p:nvSpPr>
          <p:spPr bwMode="gray">
            <a:xfrm>
              <a:off x="1219201" y="2560639"/>
              <a:ext cx="22225" cy="20638"/>
            </a:xfrm>
            <a:custGeom>
              <a:avLst/>
              <a:gdLst>
                <a:gd name="T0" fmla="*/ 3 w 24"/>
                <a:gd name="T1" fmla="*/ 7 h 23"/>
                <a:gd name="T2" fmla="*/ 8 w 24"/>
                <a:gd name="T3" fmla="*/ 21 h 23"/>
                <a:gd name="T4" fmla="*/ 21 w 24"/>
                <a:gd name="T5" fmla="*/ 15 h 23"/>
                <a:gd name="T6" fmla="*/ 16 w 24"/>
                <a:gd name="T7" fmla="*/ 2 h 23"/>
                <a:gd name="T8" fmla="*/ 3 w 24"/>
                <a:gd name="T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3" y="7"/>
                  </a:moveTo>
                  <a:cubicBezTo>
                    <a:pt x="0" y="13"/>
                    <a:pt x="3" y="19"/>
                    <a:pt x="8" y="21"/>
                  </a:cubicBezTo>
                  <a:cubicBezTo>
                    <a:pt x="13" y="23"/>
                    <a:pt x="19" y="20"/>
                    <a:pt x="21" y="15"/>
                  </a:cubicBezTo>
                  <a:cubicBezTo>
                    <a:pt x="24" y="10"/>
                    <a:pt x="21" y="4"/>
                    <a:pt x="16" y="2"/>
                  </a:cubicBezTo>
                  <a:cubicBezTo>
                    <a:pt x="11" y="0"/>
                    <a:pt x="5" y="2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88" name="Freeform 126">
              <a:extLst>
                <a:ext uri="{FF2B5EF4-FFF2-40B4-BE49-F238E27FC236}">
                  <a16:creationId xmlns:a16="http://schemas.microsoft.com/office/drawing/2014/main" id="{2E75E414-B52D-47ED-812D-A2E93B89A405}"/>
                </a:ext>
              </a:extLst>
            </p:cNvPr>
            <p:cNvSpPr>
              <a:spLocks/>
            </p:cNvSpPr>
            <p:nvPr/>
          </p:nvSpPr>
          <p:spPr bwMode="gray">
            <a:xfrm>
              <a:off x="1257301" y="2578101"/>
              <a:ext cx="19050" cy="20638"/>
            </a:xfrm>
            <a:custGeom>
              <a:avLst/>
              <a:gdLst>
                <a:gd name="T0" fmla="*/ 3 w 23"/>
                <a:gd name="T1" fmla="*/ 7 h 23"/>
                <a:gd name="T2" fmla="*/ 6 w 23"/>
                <a:gd name="T3" fmla="*/ 21 h 23"/>
                <a:gd name="T4" fmla="*/ 20 w 23"/>
                <a:gd name="T5" fmla="*/ 17 h 23"/>
                <a:gd name="T6" fmla="*/ 17 w 23"/>
                <a:gd name="T7" fmla="*/ 3 h 23"/>
                <a:gd name="T8" fmla="*/ 3 w 23"/>
                <a:gd name="T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3" y="7"/>
                  </a:moveTo>
                  <a:cubicBezTo>
                    <a:pt x="0" y="12"/>
                    <a:pt x="2" y="18"/>
                    <a:pt x="6" y="21"/>
                  </a:cubicBezTo>
                  <a:cubicBezTo>
                    <a:pt x="11" y="23"/>
                    <a:pt x="17" y="22"/>
                    <a:pt x="20" y="17"/>
                  </a:cubicBezTo>
                  <a:cubicBezTo>
                    <a:pt x="23" y="12"/>
                    <a:pt x="21" y="6"/>
                    <a:pt x="17" y="3"/>
                  </a:cubicBezTo>
                  <a:cubicBezTo>
                    <a:pt x="12" y="0"/>
                    <a:pt x="5" y="2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89" name="Freeform 127">
              <a:extLst>
                <a:ext uri="{FF2B5EF4-FFF2-40B4-BE49-F238E27FC236}">
                  <a16:creationId xmlns:a16="http://schemas.microsoft.com/office/drawing/2014/main" id="{176E771B-CF4D-445D-89C3-BC98CA2C8849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0638" y="2601914"/>
              <a:ext cx="19050" cy="19050"/>
            </a:xfrm>
            <a:custGeom>
              <a:avLst/>
              <a:gdLst>
                <a:gd name="T0" fmla="*/ 4 w 23"/>
                <a:gd name="T1" fmla="*/ 5 h 23"/>
                <a:gd name="T2" fmla="*/ 6 w 23"/>
                <a:gd name="T3" fmla="*/ 20 h 23"/>
                <a:gd name="T4" fmla="*/ 20 w 23"/>
                <a:gd name="T5" fmla="*/ 18 h 23"/>
                <a:gd name="T6" fmla="*/ 18 w 23"/>
                <a:gd name="T7" fmla="*/ 3 h 23"/>
                <a:gd name="T8" fmla="*/ 4 w 23"/>
                <a:gd name="T9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4" y="5"/>
                  </a:moveTo>
                  <a:cubicBezTo>
                    <a:pt x="0" y="10"/>
                    <a:pt x="1" y="16"/>
                    <a:pt x="6" y="20"/>
                  </a:cubicBezTo>
                  <a:cubicBezTo>
                    <a:pt x="10" y="23"/>
                    <a:pt x="17" y="22"/>
                    <a:pt x="20" y="18"/>
                  </a:cubicBezTo>
                  <a:cubicBezTo>
                    <a:pt x="23" y="13"/>
                    <a:pt x="23" y="7"/>
                    <a:pt x="18" y="3"/>
                  </a:cubicBezTo>
                  <a:cubicBezTo>
                    <a:pt x="14" y="0"/>
                    <a:pt x="7" y="1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90" name="Freeform 128">
              <a:extLst>
                <a:ext uri="{FF2B5EF4-FFF2-40B4-BE49-F238E27FC236}">
                  <a16:creationId xmlns:a16="http://schemas.microsoft.com/office/drawing/2014/main" id="{BF5E89A5-C26B-452F-8EB0-D04FC36D4835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0801" y="2628901"/>
              <a:ext cx="20638" cy="19050"/>
            </a:xfrm>
            <a:custGeom>
              <a:avLst/>
              <a:gdLst>
                <a:gd name="T0" fmla="*/ 4 w 22"/>
                <a:gd name="T1" fmla="*/ 4 h 22"/>
                <a:gd name="T2" fmla="*/ 4 w 22"/>
                <a:gd name="T3" fmla="*/ 18 h 22"/>
                <a:gd name="T4" fmla="*/ 18 w 22"/>
                <a:gd name="T5" fmla="*/ 18 h 22"/>
                <a:gd name="T6" fmla="*/ 18 w 22"/>
                <a:gd name="T7" fmla="*/ 4 h 22"/>
                <a:gd name="T8" fmla="*/ 4 w 22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4" y="4"/>
                  </a:moveTo>
                  <a:cubicBezTo>
                    <a:pt x="0" y="8"/>
                    <a:pt x="0" y="14"/>
                    <a:pt x="4" y="18"/>
                  </a:cubicBezTo>
                  <a:cubicBezTo>
                    <a:pt x="7" y="22"/>
                    <a:pt x="14" y="22"/>
                    <a:pt x="18" y="18"/>
                  </a:cubicBezTo>
                  <a:cubicBezTo>
                    <a:pt x="22" y="14"/>
                    <a:pt x="22" y="8"/>
                    <a:pt x="18" y="4"/>
                  </a:cubicBezTo>
                  <a:cubicBezTo>
                    <a:pt x="14" y="0"/>
                    <a:pt x="7" y="0"/>
                    <a:pt x="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91" name="Freeform 129">
              <a:extLst>
                <a:ext uri="{FF2B5EF4-FFF2-40B4-BE49-F238E27FC236}">
                  <a16:creationId xmlns:a16="http://schemas.microsoft.com/office/drawing/2014/main" id="{EF2B53EF-4980-4DDB-AABF-5C78AE861206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7788" y="2659064"/>
              <a:ext cx="20638" cy="19050"/>
            </a:xfrm>
            <a:custGeom>
              <a:avLst/>
              <a:gdLst>
                <a:gd name="T0" fmla="*/ 5 w 23"/>
                <a:gd name="T1" fmla="*/ 4 h 23"/>
                <a:gd name="T2" fmla="*/ 3 w 23"/>
                <a:gd name="T3" fmla="*/ 18 h 23"/>
                <a:gd name="T4" fmla="*/ 17 w 23"/>
                <a:gd name="T5" fmla="*/ 20 h 23"/>
                <a:gd name="T6" fmla="*/ 19 w 23"/>
                <a:gd name="T7" fmla="*/ 5 h 23"/>
                <a:gd name="T8" fmla="*/ 5 w 23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5" y="4"/>
                  </a:moveTo>
                  <a:cubicBezTo>
                    <a:pt x="1" y="7"/>
                    <a:pt x="0" y="13"/>
                    <a:pt x="3" y="18"/>
                  </a:cubicBezTo>
                  <a:cubicBezTo>
                    <a:pt x="7" y="22"/>
                    <a:pt x="13" y="23"/>
                    <a:pt x="17" y="20"/>
                  </a:cubicBezTo>
                  <a:cubicBezTo>
                    <a:pt x="22" y="16"/>
                    <a:pt x="23" y="10"/>
                    <a:pt x="19" y="5"/>
                  </a:cubicBezTo>
                  <a:cubicBezTo>
                    <a:pt x="16" y="1"/>
                    <a:pt x="9" y="0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</p:grpSp>
      <p:grpSp>
        <p:nvGrpSpPr>
          <p:cNvPr id="204" name="Group 187">
            <a:extLst>
              <a:ext uri="{FF2B5EF4-FFF2-40B4-BE49-F238E27FC236}">
                <a16:creationId xmlns:a16="http://schemas.microsoft.com/office/drawing/2014/main" id="{74F61205-C025-42DD-8B85-783948F1DE9C}"/>
              </a:ext>
            </a:extLst>
          </p:cNvPr>
          <p:cNvGrpSpPr/>
          <p:nvPr/>
        </p:nvGrpSpPr>
        <p:grpSpPr bwMode="gray">
          <a:xfrm>
            <a:off x="1843668" y="2071730"/>
            <a:ext cx="441354" cy="432191"/>
            <a:chOff x="1630363" y="2095500"/>
            <a:chExt cx="458787" cy="449263"/>
          </a:xfrm>
          <a:solidFill>
            <a:srgbClr val="007C39"/>
          </a:solidFill>
        </p:grpSpPr>
        <p:sp>
          <p:nvSpPr>
            <p:cNvPr id="205" name="Freeform 19">
              <a:extLst>
                <a:ext uri="{FF2B5EF4-FFF2-40B4-BE49-F238E27FC236}">
                  <a16:creationId xmlns:a16="http://schemas.microsoft.com/office/drawing/2014/main" id="{32B1C5D3-00C3-4AE1-982F-EFF21225206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30363" y="2095500"/>
              <a:ext cx="458787" cy="449263"/>
            </a:xfrm>
            <a:custGeom>
              <a:avLst/>
              <a:gdLst>
                <a:gd name="T0" fmla="*/ 61 w 122"/>
                <a:gd name="T1" fmla="*/ 0 h 120"/>
                <a:gd name="T2" fmla="*/ 0 w 122"/>
                <a:gd name="T3" fmla="*/ 60 h 120"/>
                <a:gd name="T4" fmla="*/ 61 w 122"/>
                <a:gd name="T5" fmla="*/ 120 h 120"/>
                <a:gd name="T6" fmla="*/ 122 w 122"/>
                <a:gd name="T7" fmla="*/ 60 h 120"/>
                <a:gd name="T8" fmla="*/ 61 w 122"/>
                <a:gd name="T9" fmla="*/ 0 h 120"/>
                <a:gd name="T10" fmla="*/ 61 w 122"/>
                <a:gd name="T11" fmla="*/ 111 h 120"/>
                <a:gd name="T12" fmla="*/ 8 w 122"/>
                <a:gd name="T13" fmla="*/ 59 h 120"/>
                <a:gd name="T14" fmla="*/ 61 w 122"/>
                <a:gd name="T15" fmla="*/ 7 h 120"/>
                <a:gd name="T16" fmla="*/ 114 w 122"/>
                <a:gd name="T17" fmla="*/ 59 h 120"/>
                <a:gd name="T18" fmla="*/ 61 w 122"/>
                <a:gd name="T19" fmla="*/ 11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2" h="120">
                  <a:moveTo>
                    <a:pt x="61" y="0"/>
                  </a:moveTo>
                  <a:cubicBezTo>
                    <a:pt x="27" y="0"/>
                    <a:pt x="0" y="26"/>
                    <a:pt x="0" y="60"/>
                  </a:cubicBezTo>
                  <a:cubicBezTo>
                    <a:pt x="0" y="93"/>
                    <a:pt x="27" y="120"/>
                    <a:pt x="61" y="120"/>
                  </a:cubicBezTo>
                  <a:cubicBezTo>
                    <a:pt x="95" y="120"/>
                    <a:pt x="122" y="93"/>
                    <a:pt x="122" y="60"/>
                  </a:cubicBezTo>
                  <a:cubicBezTo>
                    <a:pt x="122" y="26"/>
                    <a:pt x="95" y="0"/>
                    <a:pt x="61" y="0"/>
                  </a:cubicBezTo>
                  <a:close/>
                  <a:moveTo>
                    <a:pt x="61" y="111"/>
                  </a:moveTo>
                  <a:cubicBezTo>
                    <a:pt x="32" y="111"/>
                    <a:pt x="8" y="88"/>
                    <a:pt x="8" y="59"/>
                  </a:cubicBezTo>
                  <a:cubicBezTo>
                    <a:pt x="8" y="30"/>
                    <a:pt x="32" y="7"/>
                    <a:pt x="61" y="7"/>
                  </a:cubicBezTo>
                  <a:cubicBezTo>
                    <a:pt x="91" y="7"/>
                    <a:pt x="114" y="30"/>
                    <a:pt x="114" y="59"/>
                  </a:cubicBezTo>
                  <a:cubicBezTo>
                    <a:pt x="114" y="88"/>
                    <a:pt x="91" y="111"/>
                    <a:pt x="61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1400">
                <a:solidFill>
                  <a:prstClr val="black"/>
                </a:solidFill>
                <a:latin typeface="Delivery"/>
              </a:endParaRPr>
            </a:p>
          </p:txBody>
        </p:sp>
        <p:sp>
          <p:nvSpPr>
            <p:cNvPr id="206" name="Freeform 20">
              <a:extLst>
                <a:ext uri="{FF2B5EF4-FFF2-40B4-BE49-F238E27FC236}">
                  <a16:creationId xmlns:a16="http://schemas.microsoft.com/office/drawing/2014/main" id="{60C2F322-BB13-4B96-88C5-292AF585E0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87513" y="2147888"/>
              <a:ext cx="344487" cy="341313"/>
            </a:xfrm>
            <a:custGeom>
              <a:avLst/>
              <a:gdLst>
                <a:gd name="T0" fmla="*/ 46 w 92"/>
                <a:gd name="T1" fmla="*/ 0 h 91"/>
                <a:gd name="T2" fmla="*/ 0 w 92"/>
                <a:gd name="T3" fmla="*/ 46 h 91"/>
                <a:gd name="T4" fmla="*/ 46 w 92"/>
                <a:gd name="T5" fmla="*/ 91 h 91"/>
                <a:gd name="T6" fmla="*/ 92 w 92"/>
                <a:gd name="T7" fmla="*/ 46 h 91"/>
                <a:gd name="T8" fmla="*/ 46 w 92"/>
                <a:gd name="T9" fmla="*/ 0 h 91"/>
                <a:gd name="T10" fmla="*/ 43 w 92"/>
                <a:gd name="T11" fmla="*/ 8 h 91"/>
                <a:gd name="T12" fmla="*/ 46 w 92"/>
                <a:gd name="T13" fmla="*/ 5 h 91"/>
                <a:gd name="T14" fmla="*/ 49 w 92"/>
                <a:gd name="T15" fmla="*/ 8 h 91"/>
                <a:gd name="T16" fmla="*/ 49 w 92"/>
                <a:gd name="T17" fmla="*/ 15 h 91"/>
                <a:gd name="T18" fmla="*/ 46 w 92"/>
                <a:gd name="T19" fmla="*/ 18 h 91"/>
                <a:gd name="T20" fmla="*/ 43 w 92"/>
                <a:gd name="T21" fmla="*/ 15 h 91"/>
                <a:gd name="T22" fmla="*/ 43 w 92"/>
                <a:gd name="T23" fmla="*/ 8 h 91"/>
                <a:gd name="T24" fmla="*/ 15 w 92"/>
                <a:gd name="T25" fmla="*/ 47 h 91"/>
                <a:gd name="T26" fmla="*/ 8 w 92"/>
                <a:gd name="T27" fmla="*/ 47 h 91"/>
                <a:gd name="T28" fmla="*/ 5 w 92"/>
                <a:gd name="T29" fmla="*/ 45 h 91"/>
                <a:gd name="T30" fmla="*/ 8 w 92"/>
                <a:gd name="T31" fmla="*/ 42 h 91"/>
                <a:gd name="T32" fmla="*/ 15 w 92"/>
                <a:gd name="T33" fmla="*/ 42 h 91"/>
                <a:gd name="T34" fmla="*/ 18 w 92"/>
                <a:gd name="T35" fmla="*/ 45 h 91"/>
                <a:gd name="T36" fmla="*/ 15 w 92"/>
                <a:gd name="T37" fmla="*/ 47 h 91"/>
                <a:gd name="T38" fmla="*/ 49 w 92"/>
                <a:gd name="T39" fmla="*/ 83 h 91"/>
                <a:gd name="T40" fmla="*/ 46 w 92"/>
                <a:gd name="T41" fmla="*/ 86 h 91"/>
                <a:gd name="T42" fmla="*/ 43 w 92"/>
                <a:gd name="T43" fmla="*/ 83 h 91"/>
                <a:gd name="T44" fmla="*/ 43 w 92"/>
                <a:gd name="T45" fmla="*/ 76 h 91"/>
                <a:gd name="T46" fmla="*/ 46 w 92"/>
                <a:gd name="T47" fmla="*/ 73 h 91"/>
                <a:gd name="T48" fmla="*/ 49 w 92"/>
                <a:gd name="T49" fmla="*/ 76 h 91"/>
                <a:gd name="T50" fmla="*/ 49 w 92"/>
                <a:gd name="T51" fmla="*/ 83 h 91"/>
                <a:gd name="T52" fmla="*/ 72 w 92"/>
                <a:gd name="T53" fmla="*/ 21 h 91"/>
                <a:gd name="T54" fmla="*/ 52 w 92"/>
                <a:gd name="T55" fmla="*/ 42 h 91"/>
                <a:gd name="T56" fmla="*/ 54 w 92"/>
                <a:gd name="T57" fmla="*/ 46 h 91"/>
                <a:gd name="T58" fmla="*/ 53 w 92"/>
                <a:gd name="T59" fmla="*/ 48 h 91"/>
                <a:gd name="T60" fmla="*/ 67 w 92"/>
                <a:gd name="T61" fmla="*/ 62 h 91"/>
                <a:gd name="T62" fmla="*/ 67 w 92"/>
                <a:gd name="T63" fmla="*/ 66 h 91"/>
                <a:gd name="T64" fmla="*/ 67 w 92"/>
                <a:gd name="T65" fmla="*/ 67 h 91"/>
                <a:gd name="T66" fmla="*/ 63 w 92"/>
                <a:gd name="T67" fmla="*/ 67 h 91"/>
                <a:gd name="T68" fmla="*/ 48 w 92"/>
                <a:gd name="T69" fmla="*/ 52 h 91"/>
                <a:gd name="T70" fmla="*/ 47 w 92"/>
                <a:gd name="T71" fmla="*/ 52 h 91"/>
                <a:gd name="T72" fmla="*/ 41 w 92"/>
                <a:gd name="T73" fmla="*/ 46 h 91"/>
                <a:gd name="T74" fmla="*/ 47 w 92"/>
                <a:gd name="T75" fmla="*/ 39 h 91"/>
                <a:gd name="T76" fmla="*/ 47 w 92"/>
                <a:gd name="T77" fmla="*/ 39 h 91"/>
                <a:gd name="T78" fmla="*/ 68 w 92"/>
                <a:gd name="T79" fmla="*/ 17 h 91"/>
                <a:gd name="T80" fmla="*/ 72 w 92"/>
                <a:gd name="T81" fmla="*/ 17 h 91"/>
                <a:gd name="T82" fmla="*/ 72 w 92"/>
                <a:gd name="T83" fmla="*/ 21 h 91"/>
                <a:gd name="T84" fmla="*/ 84 w 92"/>
                <a:gd name="T85" fmla="*/ 47 h 91"/>
                <a:gd name="T86" fmla="*/ 77 w 92"/>
                <a:gd name="T87" fmla="*/ 47 h 91"/>
                <a:gd name="T88" fmla="*/ 74 w 92"/>
                <a:gd name="T89" fmla="*/ 45 h 91"/>
                <a:gd name="T90" fmla="*/ 77 w 92"/>
                <a:gd name="T91" fmla="*/ 42 h 91"/>
                <a:gd name="T92" fmla="*/ 84 w 92"/>
                <a:gd name="T93" fmla="*/ 42 h 91"/>
                <a:gd name="T94" fmla="*/ 87 w 92"/>
                <a:gd name="T95" fmla="*/ 45 h 91"/>
                <a:gd name="T96" fmla="*/ 84 w 92"/>
                <a:gd name="T97" fmla="*/ 4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2" h="91">
                  <a:moveTo>
                    <a:pt x="46" y="0"/>
                  </a:moveTo>
                  <a:cubicBezTo>
                    <a:pt x="21" y="0"/>
                    <a:pt x="0" y="20"/>
                    <a:pt x="0" y="46"/>
                  </a:cubicBezTo>
                  <a:cubicBezTo>
                    <a:pt x="0" y="71"/>
                    <a:pt x="21" y="91"/>
                    <a:pt x="46" y="91"/>
                  </a:cubicBezTo>
                  <a:cubicBezTo>
                    <a:pt x="72" y="91"/>
                    <a:pt x="92" y="71"/>
                    <a:pt x="92" y="46"/>
                  </a:cubicBezTo>
                  <a:cubicBezTo>
                    <a:pt x="92" y="20"/>
                    <a:pt x="72" y="0"/>
                    <a:pt x="46" y="0"/>
                  </a:cubicBezTo>
                  <a:close/>
                  <a:moveTo>
                    <a:pt x="43" y="8"/>
                  </a:moveTo>
                  <a:cubicBezTo>
                    <a:pt x="43" y="7"/>
                    <a:pt x="45" y="5"/>
                    <a:pt x="46" y="5"/>
                  </a:cubicBezTo>
                  <a:cubicBezTo>
                    <a:pt x="48" y="5"/>
                    <a:pt x="49" y="7"/>
                    <a:pt x="49" y="8"/>
                  </a:cubicBezTo>
                  <a:cubicBezTo>
                    <a:pt x="49" y="15"/>
                    <a:pt x="49" y="15"/>
                    <a:pt x="49" y="15"/>
                  </a:cubicBezTo>
                  <a:cubicBezTo>
                    <a:pt x="49" y="17"/>
                    <a:pt x="48" y="18"/>
                    <a:pt x="46" y="18"/>
                  </a:cubicBezTo>
                  <a:cubicBezTo>
                    <a:pt x="45" y="18"/>
                    <a:pt x="43" y="17"/>
                    <a:pt x="43" y="15"/>
                  </a:cubicBezTo>
                  <a:lnTo>
                    <a:pt x="43" y="8"/>
                  </a:lnTo>
                  <a:close/>
                  <a:moveTo>
                    <a:pt x="15" y="47"/>
                  </a:moveTo>
                  <a:cubicBezTo>
                    <a:pt x="8" y="47"/>
                    <a:pt x="8" y="47"/>
                    <a:pt x="8" y="47"/>
                  </a:cubicBezTo>
                  <a:cubicBezTo>
                    <a:pt x="7" y="47"/>
                    <a:pt x="5" y="46"/>
                    <a:pt x="5" y="45"/>
                  </a:cubicBezTo>
                  <a:cubicBezTo>
                    <a:pt x="5" y="43"/>
                    <a:pt x="7" y="42"/>
                    <a:pt x="8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7" y="42"/>
                    <a:pt x="18" y="43"/>
                    <a:pt x="18" y="45"/>
                  </a:cubicBezTo>
                  <a:cubicBezTo>
                    <a:pt x="18" y="46"/>
                    <a:pt x="17" y="47"/>
                    <a:pt x="15" y="47"/>
                  </a:cubicBezTo>
                  <a:close/>
                  <a:moveTo>
                    <a:pt x="49" y="83"/>
                  </a:moveTo>
                  <a:cubicBezTo>
                    <a:pt x="49" y="85"/>
                    <a:pt x="48" y="86"/>
                    <a:pt x="46" y="86"/>
                  </a:cubicBezTo>
                  <a:cubicBezTo>
                    <a:pt x="45" y="86"/>
                    <a:pt x="43" y="85"/>
                    <a:pt x="43" y="83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43" y="74"/>
                    <a:pt x="45" y="73"/>
                    <a:pt x="46" y="73"/>
                  </a:cubicBezTo>
                  <a:cubicBezTo>
                    <a:pt x="48" y="73"/>
                    <a:pt x="49" y="74"/>
                    <a:pt x="49" y="76"/>
                  </a:cubicBezTo>
                  <a:lnTo>
                    <a:pt x="49" y="83"/>
                  </a:lnTo>
                  <a:close/>
                  <a:moveTo>
                    <a:pt x="72" y="21"/>
                  </a:moveTo>
                  <a:cubicBezTo>
                    <a:pt x="52" y="42"/>
                    <a:pt x="52" y="42"/>
                    <a:pt x="52" y="42"/>
                  </a:cubicBezTo>
                  <a:cubicBezTo>
                    <a:pt x="53" y="43"/>
                    <a:pt x="54" y="45"/>
                    <a:pt x="54" y="46"/>
                  </a:cubicBezTo>
                  <a:cubicBezTo>
                    <a:pt x="54" y="47"/>
                    <a:pt x="53" y="48"/>
                    <a:pt x="53" y="48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8" y="63"/>
                    <a:pt x="68" y="65"/>
                    <a:pt x="67" y="66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5" y="68"/>
                    <a:pt x="64" y="68"/>
                    <a:pt x="63" y="67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48" y="52"/>
                    <a:pt x="47" y="52"/>
                    <a:pt x="47" y="52"/>
                  </a:cubicBezTo>
                  <a:cubicBezTo>
                    <a:pt x="44" y="52"/>
                    <a:pt x="41" y="49"/>
                    <a:pt x="41" y="46"/>
                  </a:cubicBezTo>
                  <a:cubicBezTo>
                    <a:pt x="41" y="42"/>
                    <a:pt x="44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9" y="16"/>
                    <a:pt x="71" y="16"/>
                    <a:pt x="72" y="17"/>
                  </a:cubicBezTo>
                  <a:cubicBezTo>
                    <a:pt x="73" y="18"/>
                    <a:pt x="73" y="19"/>
                    <a:pt x="72" y="21"/>
                  </a:cubicBezTo>
                  <a:close/>
                  <a:moveTo>
                    <a:pt x="84" y="47"/>
                  </a:moveTo>
                  <a:cubicBezTo>
                    <a:pt x="77" y="47"/>
                    <a:pt x="77" y="47"/>
                    <a:pt x="77" y="47"/>
                  </a:cubicBezTo>
                  <a:cubicBezTo>
                    <a:pt x="76" y="47"/>
                    <a:pt x="74" y="46"/>
                    <a:pt x="74" y="45"/>
                  </a:cubicBezTo>
                  <a:cubicBezTo>
                    <a:pt x="74" y="43"/>
                    <a:pt x="76" y="42"/>
                    <a:pt x="77" y="4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86" y="42"/>
                    <a:pt x="87" y="43"/>
                    <a:pt x="87" y="45"/>
                  </a:cubicBezTo>
                  <a:cubicBezTo>
                    <a:pt x="87" y="46"/>
                    <a:pt x="86" y="47"/>
                    <a:pt x="84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1400">
                <a:solidFill>
                  <a:prstClr val="black"/>
                </a:solidFill>
                <a:latin typeface="Delivery"/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462200" y="1441076"/>
            <a:ext cx="706532" cy="1707009"/>
            <a:chOff x="453153" y="1347128"/>
            <a:chExt cx="706750" cy="1707536"/>
          </a:xfrm>
        </p:grpSpPr>
        <p:sp>
          <p:nvSpPr>
            <p:cNvPr id="36" name="Oval 19">
              <a:extLst>
                <a:ext uri="{FF2B5EF4-FFF2-40B4-BE49-F238E27FC236}">
                  <a16:creationId xmlns:a16="http://schemas.microsoft.com/office/drawing/2014/main" id="{5B842061-F132-4D4F-A411-6EA2266BCDFC}"/>
                </a:ext>
              </a:extLst>
            </p:cNvPr>
            <p:cNvSpPr/>
            <p:nvPr/>
          </p:nvSpPr>
          <p:spPr bwMode="gray">
            <a:xfrm>
              <a:off x="744111" y="1347128"/>
              <a:ext cx="124831" cy="124831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577">
                <a:defRPr/>
              </a:pPr>
              <a:endParaRPr lang="fr-FR" sz="800" kern="0">
                <a:solidFill>
                  <a:prstClr val="white"/>
                </a:solidFill>
                <a:latin typeface="Delivery"/>
              </a:endParaRPr>
            </a:p>
          </p:txBody>
        </p:sp>
        <p:cxnSp>
          <p:nvCxnSpPr>
            <p:cNvPr id="37" name="Straight Connector 20">
              <a:extLst>
                <a:ext uri="{FF2B5EF4-FFF2-40B4-BE49-F238E27FC236}">
                  <a16:creationId xmlns:a16="http://schemas.microsoft.com/office/drawing/2014/main" id="{581EAD5F-266F-45F6-B060-714806069BF9}"/>
                </a:ext>
              </a:extLst>
            </p:cNvPr>
            <p:cNvCxnSpPr/>
            <p:nvPr/>
          </p:nvCxnSpPr>
          <p:spPr bwMode="gray">
            <a:xfrm>
              <a:off x="806525" y="1471959"/>
              <a:ext cx="0" cy="413772"/>
            </a:xfrm>
            <a:prstGeom prst="line">
              <a:avLst/>
            </a:prstGeom>
            <a:noFill/>
            <a:ln w="12700" cap="flat" cmpd="sng" algn="ctr">
              <a:solidFill>
                <a:schemeClr val="tx2"/>
              </a:solidFill>
              <a:prstDash val="solid"/>
              <a:headEnd type="none" w="sm" len="sm"/>
              <a:tailEnd type="none" w="sm" len="sm"/>
            </a:ln>
            <a:effectLst/>
          </p:spPr>
        </p:cxnSp>
        <p:sp>
          <p:nvSpPr>
            <p:cNvPr id="38" name="Oval 21">
              <a:extLst>
                <a:ext uri="{FF2B5EF4-FFF2-40B4-BE49-F238E27FC236}">
                  <a16:creationId xmlns:a16="http://schemas.microsoft.com/office/drawing/2014/main" id="{B0566029-F6D2-4CDF-8D9F-AFBDA14A5062}"/>
                </a:ext>
              </a:extLst>
            </p:cNvPr>
            <p:cNvSpPr/>
            <p:nvPr/>
          </p:nvSpPr>
          <p:spPr bwMode="gray">
            <a:xfrm>
              <a:off x="476087" y="1863701"/>
              <a:ext cx="660876" cy="660876"/>
            </a:xfrm>
            <a:prstGeom prst="ellipse">
              <a:avLst/>
            </a:prstGeom>
            <a:solidFill>
              <a:schemeClr val="bg1"/>
            </a:solidFill>
            <a:ln w="508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577">
                <a:defRPr/>
              </a:pPr>
              <a:endParaRPr lang="fr-FR" sz="800" kern="0">
                <a:solidFill>
                  <a:prstClr val="white"/>
                </a:solidFill>
                <a:latin typeface="Delivery"/>
              </a:endParaRPr>
            </a:p>
          </p:txBody>
        </p:sp>
        <p:grpSp>
          <p:nvGrpSpPr>
            <p:cNvPr id="39" name="Group 22">
              <a:extLst>
                <a:ext uri="{FF2B5EF4-FFF2-40B4-BE49-F238E27FC236}">
                  <a16:creationId xmlns:a16="http://schemas.microsoft.com/office/drawing/2014/main" id="{69836E91-0CA8-429B-930C-AD9C3EAE9B76}"/>
                </a:ext>
              </a:extLst>
            </p:cNvPr>
            <p:cNvGrpSpPr/>
            <p:nvPr/>
          </p:nvGrpSpPr>
          <p:grpSpPr bwMode="gray">
            <a:xfrm flipV="1">
              <a:off x="453153" y="2420345"/>
              <a:ext cx="706750" cy="634319"/>
              <a:chOff x="857251" y="2219326"/>
              <a:chExt cx="511175" cy="458788"/>
            </a:xfrm>
            <a:solidFill>
              <a:schemeClr val="accent2"/>
            </a:solidFill>
          </p:grpSpPr>
          <p:sp>
            <p:nvSpPr>
              <p:cNvPr id="40" name="Oval 106">
                <a:extLst>
                  <a:ext uri="{FF2B5EF4-FFF2-40B4-BE49-F238E27FC236}">
                    <a16:creationId xmlns:a16="http://schemas.microsoft.com/office/drawing/2014/main" id="{3541D7C8-854B-47E8-BF05-ADE88CCEA45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087438" y="2219326"/>
                <a:ext cx="50800" cy="508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41" name="Oval 107">
                <a:extLst>
                  <a:ext uri="{FF2B5EF4-FFF2-40B4-BE49-F238E27FC236}">
                    <a16:creationId xmlns:a16="http://schemas.microsoft.com/office/drawing/2014/main" id="{C5EEAF45-75CD-4E3C-A565-19E1B45D95D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538414"/>
                <a:ext cx="17463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42" name="Oval 108">
                <a:extLst>
                  <a:ext uri="{FF2B5EF4-FFF2-40B4-BE49-F238E27FC236}">
                    <a16:creationId xmlns:a16="http://schemas.microsoft.com/office/drawing/2014/main" id="{E39B095D-B1D1-4FDF-8BC8-F5512638624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98726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43" name="Oval 109">
                <a:extLst>
                  <a:ext uri="{FF2B5EF4-FFF2-40B4-BE49-F238E27FC236}">
                    <a16:creationId xmlns:a16="http://schemas.microsoft.com/office/drawing/2014/main" id="{3D3F8EB3-8D58-4CE9-A9A4-A6B822F05BD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57451"/>
                <a:ext cx="17463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44" name="Oval 110">
                <a:extLst>
                  <a:ext uri="{FF2B5EF4-FFF2-40B4-BE49-F238E27FC236}">
                    <a16:creationId xmlns:a16="http://schemas.microsoft.com/office/drawing/2014/main" id="{FF1E756A-D758-42E6-9685-4ACC11E2B79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333626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45" name="Oval 111">
                <a:extLst>
                  <a:ext uri="{FF2B5EF4-FFF2-40B4-BE49-F238E27FC236}">
                    <a16:creationId xmlns:a16="http://schemas.microsoft.com/office/drawing/2014/main" id="{3378DB5D-4D78-44DE-A32D-59A165ABAB8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293939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46" name="Oval 112">
                <a:extLst>
                  <a:ext uri="{FF2B5EF4-FFF2-40B4-BE49-F238E27FC236}">
                    <a16:creationId xmlns:a16="http://schemas.microsoft.com/office/drawing/2014/main" id="{1227552F-AC9C-4283-AD57-8B0E083CA42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14589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47" name="Oval 113">
                <a:extLst>
                  <a:ext uri="{FF2B5EF4-FFF2-40B4-BE49-F238E27FC236}">
                    <a16:creationId xmlns:a16="http://schemas.microsoft.com/office/drawing/2014/main" id="{E79F838D-6518-4325-B962-9CEFB5715AA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373314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48" name="Freeform 114">
                <a:extLst>
                  <a:ext uri="{FF2B5EF4-FFF2-40B4-BE49-F238E27FC236}">
                    <a16:creationId xmlns:a16="http://schemas.microsoft.com/office/drawing/2014/main" id="{DB02197D-19F8-4D5A-A9A9-441E54424D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038" y="2541589"/>
                <a:ext cx="19050" cy="17463"/>
              </a:xfrm>
              <a:custGeom>
                <a:avLst/>
                <a:gdLst>
                  <a:gd name="T0" fmla="*/ 21 w 21"/>
                  <a:gd name="T1" fmla="*/ 9 h 21"/>
                  <a:gd name="T2" fmla="*/ 12 w 21"/>
                  <a:gd name="T3" fmla="*/ 20 h 21"/>
                  <a:gd name="T4" fmla="*/ 1 w 21"/>
                  <a:gd name="T5" fmla="*/ 12 h 21"/>
                  <a:gd name="T6" fmla="*/ 9 w 21"/>
                  <a:gd name="T7" fmla="*/ 0 h 21"/>
                  <a:gd name="T8" fmla="*/ 21 w 21"/>
                  <a:gd name="T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1">
                    <a:moveTo>
                      <a:pt x="21" y="9"/>
                    </a:moveTo>
                    <a:cubicBezTo>
                      <a:pt x="21" y="15"/>
                      <a:pt x="18" y="20"/>
                      <a:pt x="12" y="20"/>
                    </a:cubicBezTo>
                    <a:cubicBezTo>
                      <a:pt x="6" y="21"/>
                      <a:pt x="1" y="17"/>
                      <a:pt x="1" y="12"/>
                    </a:cubicBezTo>
                    <a:cubicBezTo>
                      <a:pt x="0" y="6"/>
                      <a:pt x="4" y="1"/>
                      <a:pt x="9" y="0"/>
                    </a:cubicBezTo>
                    <a:cubicBezTo>
                      <a:pt x="15" y="0"/>
                      <a:pt x="20" y="4"/>
                      <a:pt x="2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49" name="Freeform 115">
                <a:extLst>
                  <a:ext uri="{FF2B5EF4-FFF2-40B4-BE49-F238E27FC236}">
                    <a16:creationId xmlns:a16="http://schemas.microsoft.com/office/drawing/2014/main" id="{B05E2EDC-FBE5-4A31-8EF6-EFECB7E82B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22351" y="2547939"/>
                <a:ext cx="20638" cy="20638"/>
              </a:xfrm>
              <a:custGeom>
                <a:avLst/>
                <a:gdLst>
                  <a:gd name="T0" fmla="*/ 21 w 23"/>
                  <a:gd name="T1" fmla="*/ 9 h 23"/>
                  <a:gd name="T2" fmla="*/ 14 w 23"/>
                  <a:gd name="T3" fmla="*/ 21 h 23"/>
                  <a:gd name="T4" fmla="*/ 1 w 23"/>
                  <a:gd name="T5" fmla="*/ 14 h 23"/>
                  <a:gd name="T6" fmla="*/ 9 w 23"/>
                  <a:gd name="T7" fmla="*/ 2 h 23"/>
                  <a:gd name="T8" fmla="*/ 21 w 23"/>
                  <a:gd name="T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1" y="9"/>
                    </a:moveTo>
                    <a:cubicBezTo>
                      <a:pt x="23" y="14"/>
                      <a:pt x="19" y="20"/>
                      <a:pt x="14" y="21"/>
                    </a:cubicBezTo>
                    <a:cubicBezTo>
                      <a:pt x="8" y="23"/>
                      <a:pt x="3" y="19"/>
                      <a:pt x="1" y="14"/>
                    </a:cubicBezTo>
                    <a:cubicBezTo>
                      <a:pt x="0" y="9"/>
                      <a:pt x="3" y="3"/>
                      <a:pt x="9" y="2"/>
                    </a:cubicBezTo>
                    <a:cubicBezTo>
                      <a:pt x="14" y="0"/>
                      <a:pt x="20" y="3"/>
                      <a:pt x="2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50" name="Freeform 116">
                <a:extLst>
                  <a:ext uri="{FF2B5EF4-FFF2-40B4-BE49-F238E27FC236}">
                    <a16:creationId xmlns:a16="http://schemas.microsoft.com/office/drawing/2014/main" id="{90B74A78-921D-48F6-B17C-4F6404CBFDC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4251" y="2560639"/>
                <a:ext cx="19050" cy="20638"/>
              </a:xfrm>
              <a:custGeom>
                <a:avLst/>
                <a:gdLst>
                  <a:gd name="T0" fmla="*/ 21 w 23"/>
                  <a:gd name="T1" fmla="*/ 7 h 23"/>
                  <a:gd name="T2" fmla="*/ 15 w 23"/>
                  <a:gd name="T3" fmla="*/ 21 h 23"/>
                  <a:gd name="T4" fmla="*/ 2 w 23"/>
                  <a:gd name="T5" fmla="*/ 15 h 23"/>
                  <a:gd name="T6" fmla="*/ 8 w 23"/>
                  <a:gd name="T7" fmla="*/ 2 h 23"/>
                  <a:gd name="T8" fmla="*/ 21 w 23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1" y="7"/>
                    </a:moveTo>
                    <a:cubicBezTo>
                      <a:pt x="23" y="13"/>
                      <a:pt x="21" y="19"/>
                      <a:pt x="15" y="21"/>
                    </a:cubicBezTo>
                    <a:cubicBezTo>
                      <a:pt x="10" y="23"/>
                      <a:pt x="4" y="20"/>
                      <a:pt x="2" y="15"/>
                    </a:cubicBezTo>
                    <a:cubicBezTo>
                      <a:pt x="0" y="10"/>
                      <a:pt x="2" y="4"/>
                      <a:pt x="8" y="2"/>
                    </a:cubicBezTo>
                    <a:cubicBezTo>
                      <a:pt x="13" y="0"/>
                      <a:pt x="19" y="2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51" name="Freeform 117">
                <a:extLst>
                  <a:ext uri="{FF2B5EF4-FFF2-40B4-BE49-F238E27FC236}">
                    <a16:creationId xmlns:a16="http://schemas.microsoft.com/office/drawing/2014/main" id="{7726B299-2EE6-47FE-849D-2123EFBFF39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6151" y="2578101"/>
                <a:ext cx="22225" cy="20638"/>
              </a:xfrm>
              <a:custGeom>
                <a:avLst/>
                <a:gdLst>
                  <a:gd name="T0" fmla="*/ 21 w 24"/>
                  <a:gd name="T1" fmla="*/ 7 h 23"/>
                  <a:gd name="T2" fmla="*/ 17 w 24"/>
                  <a:gd name="T3" fmla="*/ 21 h 23"/>
                  <a:gd name="T4" fmla="*/ 3 w 24"/>
                  <a:gd name="T5" fmla="*/ 17 h 23"/>
                  <a:gd name="T6" fmla="*/ 7 w 24"/>
                  <a:gd name="T7" fmla="*/ 3 h 23"/>
                  <a:gd name="T8" fmla="*/ 21 w 24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3">
                    <a:moveTo>
                      <a:pt x="21" y="7"/>
                    </a:moveTo>
                    <a:cubicBezTo>
                      <a:pt x="24" y="12"/>
                      <a:pt x="22" y="18"/>
                      <a:pt x="17" y="21"/>
                    </a:cubicBezTo>
                    <a:cubicBezTo>
                      <a:pt x="12" y="23"/>
                      <a:pt x="6" y="22"/>
                      <a:pt x="3" y="17"/>
                    </a:cubicBezTo>
                    <a:cubicBezTo>
                      <a:pt x="0" y="12"/>
                      <a:pt x="2" y="6"/>
                      <a:pt x="7" y="3"/>
                    </a:cubicBezTo>
                    <a:cubicBezTo>
                      <a:pt x="12" y="0"/>
                      <a:pt x="18" y="2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52" name="Freeform 118">
                <a:extLst>
                  <a:ext uri="{FF2B5EF4-FFF2-40B4-BE49-F238E27FC236}">
                    <a16:creationId xmlns:a16="http://schemas.microsoft.com/office/drawing/2014/main" id="{F9F3E694-86F4-466F-B3C0-2B32BC2164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2813" y="2601914"/>
                <a:ext cx="20638" cy="19050"/>
              </a:xfrm>
              <a:custGeom>
                <a:avLst/>
                <a:gdLst>
                  <a:gd name="T0" fmla="*/ 20 w 23"/>
                  <a:gd name="T1" fmla="*/ 5 h 23"/>
                  <a:gd name="T2" fmla="*/ 18 w 23"/>
                  <a:gd name="T3" fmla="*/ 20 h 23"/>
                  <a:gd name="T4" fmla="*/ 3 w 23"/>
                  <a:gd name="T5" fmla="*/ 18 h 23"/>
                  <a:gd name="T6" fmla="*/ 5 w 23"/>
                  <a:gd name="T7" fmla="*/ 3 h 23"/>
                  <a:gd name="T8" fmla="*/ 20 w 23"/>
                  <a:gd name="T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0" y="5"/>
                    </a:moveTo>
                    <a:cubicBezTo>
                      <a:pt x="23" y="10"/>
                      <a:pt x="22" y="16"/>
                      <a:pt x="18" y="20"/>
                    </a:cubicBezTo>
                    <a:cubicBezTo>
                      <a:pt x="13" y="23"/>
                      <a:pt x="7" y="22"/>
                      <a:pt x="3" y="18"/>
                    </a:cubicBezTo>
                    <a:cubicBezTo>
                      <a:pt x="0" y="13"/>
                      <a:pt x="1" y="7"/>
                      <a:pt x="5" y="3"/>
                    </a:cubicBezTo>
                    <a:cubicBezTo>
                      <a:pt x="10" y="0"/>
                      <a:pt x="16" y="1"/>
                      <a:pt x="2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53" name="Freeform 119">
                <a:extLst>
                  <a:ext uri="{FF2B5EF4-FFF2-40B4-BE49-F238E27FC236}">
                    <a16:creationId xmlns:a16="http://schemas.microsoft.com/office/drawing/2014/main" id="{D86179C8-EE1A-4314-AA3E-1E73A33761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4238" y="2628901"/>
                <a:ext cx="19050" cy="19050"/>
              </a:xfrm>
              <a:custGeom>
                <a:avLst/>
                <a:gdLst>
                  <a:gd name="T0" fmla="*/ 18 w 22"/>
                  <a:gd name="T1" fmla="*/ 4 h 22"/>
                  <a:gd name="T2" fmla="*/ 18 w 22"/>
                  <a:gd name="T3" fmla="*/ 18 h 22"/>
                  <a:gd name="T4" fmla="*/ 4 w 22"/>
                  <a:gd name="T5" fmla="*/ 18 h 22"/>
                  <a:gd name="T6" fmla="*/ 4 w 22"/>
                  <a:gd name="T7" fmla="*/ 4 h 22"/>
                  <a:gd name="T8" fmla="*/ 18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8" y="4"/>
                    </a:moveTo>
                    <a:cubicBezTo>
                      <a:pt x="22" y="8"/>
                      <a:pt x="22" y="14"/>
                      <a:pt x="18" y="18"/>
                    </a:cubicBezTo>
                    <a:cubicBezTo>
                      <a:pt x="14" y="22"/>
                      <a:pt x="8" y="22"/>
                      <a:pt x="4" y="18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4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54" name="Freeform 120">
                <a:extLst>
                  <a:ext uri="{FF2B5EF4-FFF2-40B4-BE49-F238E27FC236}">
                    <a16:creationId xmlns:a16="http://schemas.microsoft.com/office/drawing/2014/main" id="{351A37CE-291D-4B1D-B6DD-92595B7FBF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251" y="2659064"/>
                <a:ext cx="19050" cy="19050"/>
              </a:xfrm>
              <a:custGeom>
                <a:avLst/>
                <a:gdLst>
                  <a:gd name="T0" fmla="*/ 18 w 23"/>
                  <a:gd name="T1" fmla="*/ 4 h 23"/>
                  <a:gd name="T2" fmla="*/ 19 w 23"/>
                  <a:gd name="T3" fmla="*/ 18 h 23"/>
                  <a:gd name="T4" fmla="*/ 5 w 23"/>
                  <a:gd name="T5" fmla="*/ 20 h 23"/>
                  <a:gd name="T6" fmla="*/ 3 w 23"/>
                  <a:gd name="T7" fmla="*/ 5 h 23"/>
                  <a:gd name="T8" fmla="*/ 18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8" y="4"/>
                    </a:moveTo>
                    <a:cubicBezTo>
                      <a:pt x="22" y="7"/>
                      <a:pt x="23" y="13"/>
                      <a:pt x="19" y="18"/>
                    </a:cubicBezTo>
                    <a:cubicBezTo>
                      <a:pt x="16" y="22"/>
                      <a:pt x="10" y="23"/>
                      <a:pt x="5" y="20"/>
                    </a:cubicBezTo>
                    <a:cubicBezTo>
                      <a:pt x="1" y="16"/>
                      <a:pt x="0" y="10"/>
                      <a:pt x="3" y="5"/>
                    </a:cubicBezTo>
                    <a:cubicBezTo>
                      <a:pt x="7" y="1"/>
                      <a:pt x="13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55" name="Freeform 121">
                <a:extLst>
                  <a:ext uri="{FF2B5EF4-FFF2-40B4-BE49-F238E27FC236}">
                    <a16:creationId xmlns:a16="http://schemas.microsoft.com/office/drawing/2014/main" id="{FE5CB667-98A9-44FB-A53B-ECE240714E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4238" y="2628901"/>
                <a:ext cx="19050" cy="19050"/>
              </a:xfrm>
              <a:custGeom>
                <a:avLst/>
                <a:gdLst>
                  <a:gd name="T0" fmla="*/ 18 w 22"/>
                  <a:gd name="T1" fmla="*/ 4 h 22"/>
                  <a:gd name="T2" fmla="*/ 18 w 22"/>
                  <a:gd name="T3" fmla="*/ 18 h 22"/>
                  <a:gd name="T4" fmla="*/ 4 w 22"/>
                  <a:gd name="T5" fmla="*/ 18 h 22"/>
                  <a:gd name="T6" fmla="*/ 4 w 22"/>
                  <a:gd name="T7" fmla="*/ 4 h 22"/>
                  <a:gd name="T8" fmla="*/ 18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8" y="4"/>
                    </a:moveTo>
                    <a:cubicBezTo>
                      <a:pt x="22" y="8"/>
                      <a:pt x="22" y="14"/>
                      <a:pt x="18" y="18"/>
                    </a:cubicBezTo>
                    <a:cubicBezTo>
                      <a:pt x="14" y="22"/>
                      <a:pt x="8" y="22"/>
                      <a:pt x="4" y="18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4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56" name="Freeform 122">
                <a:extLst>
                  <a:ext uri="{FF2B5EF4-FFF2-40B4-BE49-F238E27FC236}">
                    <a16:creationId xmlns:a16="http://schemas.microsoft.com/office/drawing/2014/main" id="{D7C886FF-0292-441B-8C6E-4BDDEF366D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251" y="2659064"/>
                <a:ext cx="19050" cy="19050"/>
              </a:xfrm>
              <a:custGeom>
                <a:avLst/>
                <a:gdLst>
                  <a:gd name="T0" fmla="*/ 18 w 23"/>
                  <a:gd name="T1" fmla="*/ 4 h 23"/>
                  <a:gd name="T2" fmla="*/ 19 w 23"/>
                  <a:gd name="T3" fmla="*/ 18 h 23"/>
                  <a:gd name="T4" fmla="*/ 5 w 23"/>
                  <a:gd name="T5" fmla="*/ 20 h 23"/>
                  <a:gd name="T6" fmla="*/ 3 w 23"/>
                  <a:gd name="T7" fmla="*/ 5 h 23"/>
                  <a:gd name="T8" fmla="*/ 18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8" y="4"/>
                    </a:moveTo>
                    <a:cubicBezTo>
                      <a:pt x="22" y="7"/>
                      <a:pt x="23" y="13"/>
                      <a:pt x="19" y="18"/>
                    </a:cubicBezTo>
                    <a:cubicBezTo>
                      <a:pt x="16" y="22"/>
                      <a:pt x="10" y="23"/>
                      <a:pt x="5" y="20"/>
                    </a:cubicBezTo>
                    <a:cubicBezTo>
                      <a:pt x="1" y="16"/>
                      <a:pt x="0" y="10"/>
                      <a:pt x="3" y="5"/>
                    </a:cubicBezTo>
                    <a:cubicBezTo>
                      <a:pt x="7" y="1"/>
                      <a:pt x="13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57" name="Freeform 123">
                <a:extLst>
                  <a:ext uri="{FF2B5EF4-FFF2-40B4-BE49-F238E27FC236}">
                    <a16:creationId xmlns:a16="http://schemas.microsoft.com/office/drawing/2014/main" id="{50A57274-A8BA-4101-9B7E-BC929160C3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43001" y="2541589"/>
                <a:ext cx="19050" cy="17463"/>
              </a:xfrm>
              <a:custGeom>
                <a:avLst/>
                <a:gdLst>
                  <a:gd name="T0" fmla="*/ 1 w 22"/>
                  <a:gd name="T1" fmla="*/ 9 h 21"/>
                  <a:gd name="T2" fmla="*/ 10 w 22"/>
                  <a:gd name="T3" fmla="*/ 20 h 21"/>
                  <a:gd name="T4" fmla="*/ 21 w 22"/>
                  <a:gd name="T5" fmla="*/ 12 h 21"/>
                  <a:gd name="T6" fmla="*/ 12 w 22"/>
                  <a:gd name="T7" fmla="*/ 0 h 21"/>
                  <a:gd name="T8" fmla="*/ 1 w 22"/>
                  <a:gd name="T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1">
                    <a:moveTo>
                      <a:pt x="1" y="9"/>
                    </a:moveTo>
                    <a:cubicBezTo>
                      <a:pt x="0" y="15"/>
                      <a:pt x="4" y="20"/>
                      <a:pt x="10" y="20"/>
                    </a:cubicBezTo>
                    <a:cubicBezTo>
                      <a:pt x="15" y="21"/>
                      <a:pt x="20" y="17"/>
                      <a:pt x="21" y="12"/>
                    </a:cubicBezTo>
                    <a:cubicBezTo>
                      <a:pt x="22" y="6"/>
                      <a:pt x="18" y="1"/>
                      <a:pt x="12" y="0"/>
                    </a:cubicBezTo>
                    <a:cubicBezTo>
                      <a:pt x="7" y="0"/>
                      <a:pt x="2" y="4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58" name="Freeform 124">
                <a:extLst>
                  <a:ext uri="{FF2B5EF4-FFF2-40B4-BE49-F238E27FC236}">
                    <a16:creationId xmlns:a16="http://schemas.microsoft.com/office/drawing/2014/main" id="{7EF70098-5A8D-4243-B94A-D0FC321EC11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2688" y="2547939"/>
                <a:ext cx="19050" cy="20638"/>
              </a:xfrm>
              <a:custGeom>
                <a:avLst/>
                <a:gdLst>
                  <a:gd name="T0" fmla="*/ 1 w 23"/>
                  <a:gd name="T1" fmla="*/ 9 h 23"/>
                  <a:gd name="T2" fmla="*/ 9 w 23"/>
                  <a:gd name="T3" fmla="*/ 21 h 23"/>
                  <a:gd name="T4" fmla="*/ 21 w 23"/>
                  <a:gd name="T5" fmla="*/ 14 h 23"/>
                  <a:gd name="T6" fmla="*/ 14 w 23"/>
                  <a:gd name="T7" fmla="*/ 2 h 23"/>
                  <a:gd name="T8" fmla="*/ 1 w 23"/>
                  <a:gd name="T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" y="9"/>
                    </a:moveTo>
                    <a:cubicBezTo>
                      <a:pt x="0" y="14"/>
                      <a:pt x="3" y="20"/>
                      <a:pt x="9" y="21"/>
                    </a:cubicBezTo>
                    <a:cubicBezTo>
                      <a:pt x="14" y="23"/>
                      <a:pt x="20" y="19"/>
                      <a:pt x="21" y="14"/>
                    </a:cubicBezTo>
                    <a:cubicBezTo>
                      <a:pt x="23" y="9"/>
                      <a:pt x="19" y="3"/>
                      <a:pt x="14" y="2"/>
                    </a:cubicBezTo>
                    <a:cubicBezTo>
                      <a:pt x="8" y="0"/>
                      <a:pt x="3" y="3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59" name="Freeform 125">
                <a:extLst>
                  <a:ext uri="{FF2B5EF4-FFF2-40B4-BE49-F238E27FC236}">
                    <a16:creationId xmlns:a16="http://schemas.microsoft.com/office/drawing/2014/main" id="{70CB57AC-E06C-4D7C-BE3B-003905C15B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19201" y="2560639"/>
                <a:ext cx="22225" cy="20638"/>
              </a:xfrm>
              <a:custGeom>
                <a:avLst/>
                <a:gdLst>
                  <a:gd name="T0" fmla="*/ 3 w 24"/>
                  <a:gd name="T1" fmla="*/ 7 h 23"/>
                  <a:gd name="T2" fmla="*/ 8 w 24"/>
                  <a:gd name="T3" fmla="*/ 21 h 23"/>
                  <a:gd name="T4" fmla="*/ 21 w 24"/>
                  <a:gd name="T5" fmla="*/ 15 h 23"/>
                  <a:gd name="T6" fmla="*/ 16 w 24"/>
                  <a:gd name="T7" fmla="*/ 2 h 23"/>
                  <a:gd name="T8" fmla="*/ 3 w 24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3">
                    <a:moveTo>
                      <a:pt x="3" y="7"/>
                    </a:moveTo>
                    <a:cubicBezTo>
                      <a:pt x="0" y="13"/>
                      <a:pt x="3" y="19"/>
                      <a:pt x="8" y="21"/>
                    </a:cubicBezTo>
                    <a:cubicBezTo>
                      <a:pt x="13" y="23"/>
                      <a:pt x="19" y="20"/>
                      <a:pt x="21" y="15"/>
                    </a:cubicBezTo>
                    <a:cubicBezTo>
                      <a:pt x="24" y="10"/>
                      <a:pt x="21" y="4"/>
                      <a:pt x="16" y="2"/>
                    </a:cubicBezTo>
                    <a:cubicBezTo>
                      <a:pt x="11" y="0"/>
                      <a:pt x="5" y="2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60" name="Freeform 126">
                <a:extLst>
                  <a:ext uri="{FF2B5EF4-FFF2-40B4-BE49-F238E27FC236}">
                    <a16:creationId xmlns:a16="http://schemas.microsoft.com/office/drawing/2014/main" id="{B1CB586C-9D5B-460D-87E3-F062738B8C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57301" y="2578101"/>
                <a:ext cx="19050" cy="20638"/>
              </a:xfrm>
              <a:custGeom>
                <a:avLst/>
                <a:gdLst>
                  <a:gd name="T0" fmla="*/ 3 w 23"/>
                  <a:gd name="T1" fmla="*/ 7 h 23"/>
                  <a:gd name="T2" fmla="*/ 6 w 23"/>
                  <a:gd name="T3" fmla="*/ 21 h 23"/>
                  <a:gd name="T4" fmla="*/ 20 w 23"/>
                  <a:gd name="T5" fmla="*/ 17 h 23"/>
                  <a:gd name="T6" fmla="*/ 17 w 23"/>
                  <a:gd name="T7" fmla="*/ 3 h 23"/>
                  <a:gd name="T8" fmla="*/ 3 w 23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3" y="7"/>
                    </a:moveTo>
                    <a:cubicBezTo>
                      <a:pt x="0" y="12"/>
                      <a:pt x="2" y="18"/>
                      <a:pt x="6" y="21"/>
                    </a:cubicBezTo>
                    <a:cubicBezTo>
                      <a:pt x="11" y="23"/>
                      <a:pt x="17" y="22"/>
                      <a:pt x="20" y="17"/>
                    </a:cubicBezTo>
                    <a:cubicBezTo>
                      <a:pt x="23" y="12"/>
                      <a:pt x="21" y="6"/>
                      <a:pt x="17" y="3"/>
                    </a:cubicBezTo>
                    <a:cubicBezTo>
                      <a:pt x="12" y="0"/>
                      <a:pt x="5" y="2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61" name="Freeform 127">
                <a:extLst>
                  <a:ext uri="{FF2B5EF4-FFF2-40B4-BE49-F238E27FC236}">
                    <a16:creationId xmlns:a16="http://schemas.microsoft.com/office/drawing/2014/main" id="{49C3EEC0-8A3A-4D2D-BC5D-0E2880DD3A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90638" y="2601914"/>
                <a:ext cx="19050" cy="19050"/>
              </a:xfrm>
              <a:custGeom>
                <a:avLst/>
                <a:gdLst>
                  <a:gd name="T0" fmla="*/ 4 w 23"/>
                  <a:gd name="T1" fmla="*/ 5 h 23"/>
                  <a:gd name="T2" fmla="*/ 6 w 23"/>
                  <a:gd name="T3" fmla="*/ 20 h 23"/>
                  <a:gd name="T4" fmla="*/ 20 w 23"/>
                  <a:gd name="T5" fmla="*/ 18 h 23"/>
                  <a:gd name="T6" fmla="*/ 18 w 23"/>
                  <a:gd name="T7" fmla="*/ 3 h 23"/>
                  <a:gd name="T8" fmla="*/ 4 w 23"/>
                  <a:gd name="T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4" y="5"/>
                    </a:moveTo>
                    <a:cubicBezTo>
                      <a:pt x="0" y="10"/>
                      <a:pt x="1" y="16"/>
                      <a:pt x="6" y="20"/>
                    </a:cubicBezTo>
                    <a:cubicBezTo>
                      <a:pt x="10" y="23"/>
                      <a:pt x="17" y="22"/>
                      <a:pt x="20" y="18"/>
                    </a:cubicBezTo>
                    <a:cubicBezTo>
                      <a:pt x="23" y="13"/>
                      <a:pt x="23" y="7"/>
                      <a:pt x="18" y="3"/>
                    </a:cubicBezTo>
                    <a:cubicBezTo>
                      <a:pt x="14" y="0"/>
                      <a:pt x="7" y="1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62" name="Freeform 128">
                <a:extLst>
                  <a:ext uri="{FF2B5EF4-FFF2-40B4-BE49-F238E27FC236}">
                    <a16:creationId xmlns:a16="http://schemas.microsoft.com/office/drawing/2014/main" id="{3D5B2FA7-EE0F-4C33-9468-BE1A5DF764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20801" y="2628901"/>
                <a:ext cx="20638" cy="19050"/>
              </a:xfrm>
              <a:custGeom>
                <a:avLst/>
                <a:gdLst>
                  <a:gd name="T0" fmla="*/ 4 w 22"/>
                  <a:gd name="T1" fmla="*/ 4 h 22"/>
                  <a:gd name="T2" fmla="*/ 4 w 22"/>
                  <a:gd name="T3" fmla="*/ 18 h 22"/>
                  <a:gd name="T4" fmla="*/ 18 w 22"/>
                  <a:gd name="T5" fmla="*/ 18 h 22"/>
                  <a:gd name="T6" fmla="*/ 18 w 22"/>
                  <a:gd name="T7" fmla="*/ 4 h 22"/>
                  <a:gd name="T8" fmla="*/ 4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4" y="4"/>
                    </a:moveTo>
                    <a:cubicBezTo>
                      <a:pt x="0" y="8"/>
                      <a:pt x="0" y="14"/>
                      <a:pt x="4" y="18"/>
                    </a:cubicBezTo>
                    <a:cubicBezTo>
                      <a:pt x="7" y="22"/>
                      <a:pt x="14" y="22"/>
                      <a:pt x="18" y="18"/>
                    </a:cubicBezTo>
                    <a:cubicBezTo>
                      <a:pt x="22" y="14"/>
                      <a:pt x="22" y="8"/>
                      <a:pt x="18" y="4"/>
                    </a:cubicBezTo>
                    <a:cubicBezTo>
                      <a:pt x="14" y="0"/>
                      <a:pt x="7" y="0"/>
                      <a:pt x="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63" name="Freeform 129">
                <a:extLst>
                  <a:ext uri="{FF2B5EF4-FFF2-40B4-BE49-F238E27FC236}">
                    <a16:creationId xmlns:a16="http://schemas.microsoft.com/office/drawing/2014/main" id="{5EDB018D-BF88-4030-9259-6396E35301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47788" y="2659064"/>
                <a:ext cx="20638" cy="19050"/>
              </a:xfrm>
              <a:custGeom>
                <a:avLst/>
                <a:gdLst>
                  <a:gd name="T0" fmla="*/ 5 w 23"/>
                  <a:gd name="T1" fmla="*/ 4 h 23"/>
                  <a:gd name="T2" fmla="*/ 3 w 23"/>
                  <a:gd name="T3" fmla="*/ 18 h 23"/>
                  <a:gd name="T4" fmla="*/ 17 w 23"/>
                  <a:gd name="T5" fmla="*/ 20 h 23"/>
                  <a:gd name="T6" fmla="*/ 19 w 23"/>
                  <a:gd name="T7" fmla="*/ 5 h 23"/>
                  <a:gd name="T8" fmla="*/ 5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5" y="4"/>
                    </a:moveTo>
                    <a:cubicBezTo>
                      <a:pt x="1" y="7"/>
                      <a:pt x="0" y="13"/>
                      <a:pt x="3" y="18"/>
                    </a:cubicBezTo>
                    <a:cubicBezTo>
                      <a:pt x="7" y="22"/>
                      <a:pt x="13" y="23"/>
                      <a:pt x="17" y="20"/>
                    </a:cubicBezTo>
                    <a:cubicBezTo>
                      <a:pt x="22" y="16"/>
                      <a:pt x="23" y="10"/>
                      <a:pt x="19" y="5"/>
                    </a:cubicBezTo>
                    <a:cubicBezTo>
                      <a:pt x="16" y="1"/>
                      <a:pt x="9" y="0"/>
                      <a:pt x="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</p:grpSp>
        <p:grpSp>
          <p:nvGrpSpPr>
            <p:cNvPr id="229" name="Group 563">
              <a:extLst>
                <a:ext uri="{FF2B5EF4-FFF2-40B4-BE49-F238E27FC236}">
                  <a16:creationId xmlns:a16="http://schemas.microsoft.com/office/drawing/2014/main" id="{CA45BE1B-4142-4E9E-BC93-7ECCD3C28EF0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23086" y="2149088"/>
              <a:ext cx="566881" cy="90117"/>
              <a:chOff x="-495116" y="2414454"/>
              <a:chExt cx="1404000" cy="223191"/>
            </a:xfrm>
          </p:grpSpPr>
          <p:sp>
            <p:nvSpPr>
              <p:cNvPr id="230" name="Rectangle 104">
                <a:extLst>
                  <a:ext uri="{FF2B5EF4-FFF2-40B4-BE49-F238E27FC236}">
                    <a16:creationId xmlns:a16="http://schemas.microsoft.com/office/drawing/2014/main" id="{13FBECEB-D2E3-4EF3-9E69-887C2981E5F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-495116" y="2418685"/>
                <a:ext cx="1404000" cy="21578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altLang="en-US" sz="1100" ker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31" name="Freeform 106">
                <a:extLst>
                  <a:ext uri="{FF2B5EF4-FFF2-40B4-BE49-F238E27FC236}">
                    <a16:creationId xmlns:a16="http://schemas.microsoft.com/office/drawing/2014/main" id="{9753A125-0DC4-4D87-AE4B-C16DE092CF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95116" y="2415512"/>
                <a:ext cx="209125" cy="221076"/>
              </a:xfrm>
              <a:custGeom>
                <a:avLst/>
                <a:gdLst>
                  <a:gd name="T0" fmla="*/ 0 w 1976"/>
                  <a:gd name="T1" fmla="*/ 0 h 2095"/>
                  <a:gd name="T2" fmla="*/ 0 w 1976"/>
                  <a:gd name="T3" fmla="*/ 0 h 2095"/>
                  <a:gd name="T4" fmla="*/ 0 w 1976"/>
                  <a:gd name="T5" fmla="*/ 0 h 2095"/>
                  <a:gd name="T6" fmla="*/ 0 w 1976"/>
                  <a:gd name="T7" fmla="*/ 0 h 2095"/>
                  <a:gd name="T8" fmla="*/ 0 w 1976"/>
                  <a:gd name="T9" fmla="*/ 0 h 2095"/>
                  <a:gd name="T10" fmla="*/ 0 w 1976"/>
                  <a:gd name="T11" fmla="*/ 0 h 2095"/>
                  <a:gd name="T12" fmla="*/ 0 w 1976"/>
                  <a:gd name="T13" fmla="*/ 0 h 2095"/>
                  <a:gd name="T14" fmla="*/ 0 w 1976"/>
                  <a:gd name="T15" fmla="*/ 0 h 2095"/>
                  <a:gd name="T16" fmla="*/ 0 w 1976"/>
                  <a:gd name="T17" fmla="*/ 0 h 2095"/>
                  <a:gd name="T18" fmla="*/ 0 w 1976"/>
                  <a:gd name="T19" fmla="*/ 0 h 2095"/>
                  <a:gd name="T20" fmla="*/ 0 w 1976"/>
                  <a:gd name="T21" fmla="*/ 0 h 2095"/>
                  <a:gd name="T22" fmla="*/ 0 w 1976"/>
                  <a:gd name="T23" fmla="*/ 0 h 2095"/>
                  <a:gd name="T24" fmla="*/ 0 w 1976"/>
                  <a:gd name="T25" fmla="*/ 0 h 2095"/>
                  <a:gd name="T26" fmla="*/ 0 w 1976"/>
                  <a:gd name="T27" fmla="*/ 0 h 2095"/>
                  <a:gd name="T28" fmla="*/ 0 w 1976"/>
                  <a:gd name="T29" fmla="*/ 0 h 2095"/>
                  <a:gd name="T30" fmla="*/ 0 w 1976"/>
                  <a:gd name="T31" fmla="*/ 0 h 2095"/>
                  <a:gd name="T32" fmla="*/ 0 w 1976"/>
                  <a:gd name="T33" fmla="*/ 0 h 2095"/>
                  <a:gd name="T34" fmla="*/ 0 w 1976"/>
                  <a:gd name="T35" fmla="*/ 0 h 2095"/>
                  <a:gd name="T36" fmla="*/ 0 w 1976"/>
                  <a:gd name="T37" fmla="*/ 0 h 2095"/>
                  <a:gd name="T38" fmla="*/ 0 w 1976"/>
                  <a:gd name="T39" fmla="*/ 0 h 2095"/>
                  <a:gd name="T40" fmla="*/ 0 w 1976"/>
                  <a:gd name="T41" fmla="*/ 0 h 2095"/>
                  <a:gd name="T42" fmla="*/ 0 w 1976"/>
                  <a:gd name="T43" fmla="*/ 0 h 2095"/>
                  <a:gd name="T44" fmla="*/ 0 w 1976"/>
                  <a:gd name="T45" fmla="*/ 0 h 2095"/>
                  <a:gd name="T46" fmla="*/ 0 w 1976"/>
                  <a:gd name="T47" fmla="*/ 0 h 2095"/>
                  <a:gd name="T48" fmla="*/ 0 w 1976"/>
                  <a:gd name="T49" fmla="*/ 0 h 2095"/>
                  <a:gd name="T50" fmla="*/ 0 w 1976"/>
                  <a:gd name="T51" fmla="*/ 0 h 2095"/>
                  <a:gd name="T52" fmla="*/ 0 w 1976"/>
                  <a:gd name="T53" fmla="*/ 0 h 2095"/>
                  <a:gd name="T54" fmla="*/ 0 w 1976"/>
                  <a:gd name="T55" fmla="*/ 0 h 2095"/>
                  <a:gd name="T56" fmla="*/ 0 w 1976"/>
                  <a:gd name="T57" fmla="*/ 0 h 2095"/>
                  <a:gd name="T58" fmla="*/ 0 w 1976"/>
                  <a:gd name="T59" fmla="*/ 0 h 2095"/>
                  <a:gd name="T60" fmla="*/ 0 w 1976"/>
                  <a:gd name="T61" fmla="*/ 0 h 2095"/>
                  <a:gd name="T62" fmla="*/ 0 w 1976"/>
                  <a:gd name="T63" fmla="*/ 0 h 2095"/>
                  <a:gd name="T64" fmla="*/ 0 w 1976"/>
                  <a:gd name="T65" fmla="*/ 0 h 2095"/>
                  <a:gd name="T66" fmla="*/ 0 w 1976"/>
                  <a:gd name="T67" fmla="*/ 0 h 2095"/>
                  <a:gd name="T68" fmla="*/ 0 w 1976"/>
                  <a:gd name="T69" fmla="*/ 0 h 2095"/>
                  <a:gd name="T70" fmla="*/ 0 w 1976"/>
                  <a:gd name="T71" fmla="*/ 0 h 2095"/>
                  <a:gd name="T72" fmla="*/ 0 w 1976"/>
                  <a:gd name="T73" fmla="*/ 0 h 2095"/>
                  <a:gd name="T74" fmla="*/ 0 w 1976"/>
                  <a:gd name="T75" fmla="*/ 0 h 2095"/>
                  <a:gd name="T76" fmla="*/ 0 w 1976"/>
                  <a:gd name="T77" fmla="*/ 0 h 2095"/>
                  <a:gd name="T78" fmla="*/ 0 w 1976"/>
                  <a:gd name="T79" fmla="*/ 0 h 2095"/>
                  <a:gd name="T80" fmla="*/ 0 w 1976"/>
                  <a:gd name="T81" fmla="*/ 0 h 2095"/>
                  <a:gd name="T82" fmla="*/ 0 w 1976"/>
                  <a:gd name="T83" fmla="*/ 0 h 2095"/>
                  <a:gd name="T84" fmla="*/ 0 w 1976"/>
                  <a:gd name="T85" fmla="*/ 0 h 2095"/>
                  <a:gd name="T86" fmla="*/ 0 w 1976"/>
                  <a:gd name="T87" fmla="*/ 0 h 2095"/>
                  <a:gd name="T88" fmla="*/ 0 w 1976"/>
                  <a:gd name="T89" fmla="*/ 0 h 2095"/>
                  <a:gd name="T90" fmla="*/ 0 w 1976"/>
                  <a:gd name="T91" fmla="*/ 0 h 2095"/>
                  <a:gd name="T92" fmla="*/ 0 w 1976"/>
                  <a:gd name="T93" fmla="*/ 0 h 2095"/>
                  <a:gd name="T94" fmla="*/ 0 w 1976"/>
                  <a:gd name="T95" fmla="*/ 0 h 2095"/>
                  <a:gd name="T96" fmla="*/ 0 w 1976"/>
                  <a:gd name="T97" fmla="*/ 0 h 2095"/>
                  <a:gd name="T98" fmla="*/ 0 w 1976"/>
                  <a:gd name="T99" fmla="*/ 0 h 2095"/>
                  <a:gd name="T100" fmla="*/ 0 w 1976"/>
                  <a:gd name="T101" fmla="*/ 0 h 2095"/>
                  <a:gd name="T102" fmla="*/ 0 w 1976"/>
                  <a:gd name="T103" fmla="*/ 0 h 209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976" h="2095">
                    <a:moveTo>
                      <a:pt x="61" y="1038"/>
                    </a:moveTo>
                    <a:lnTo>
                      <a:pt x="52" y="1070"/>
                    </a:lnTo>
                    <a:lnTo>
                      <a:pt x="44" y="1101"/>
                    </a:lnTo>
                    <a:lnTo>
                      <a:pt x="36" y="1133"/>
                    </a:lnTo>
                    <a:lnTo>
                      <a:pt x="30" y="1163"/>
                    </a:lnTo>
                    <a:lnTo>
                      <a:pt x="23" y="1193"/>
                    </a:lnTo>
                    <a:lnTo>
                      <a:pt x="18" y="1223"/>
                    </a:lnTo>
                    <a:lnTo>
                      <a:pt x="14" y="1253"/>
                    </a:lnTo>
                    <a:lnTo>
                      <a:pt x="9" y="1282"/>
                    </a:lnTo>
                    <a:lnTo>
                      <a:pt x="6" y="1310"/>
                    </a:lnTo>
                    <a:lnTo>
                      <a:pt x="4" y="1338"/>
                    </a:lnTo>
                    <a:lnTo>
                      <a:pt x="2" y="1366"/>
                    </a:lnTo>
                    <a:lnTo>
                      <a:pt x="1" y="1393"/>
                    </a:lnTo>
                    <a:lnTo>
                      <a:pt x="0" y="1419"/>
                    </a:lnTo>
                    <a:lnTo>
                      <a:pt x="0" y="1446"/>
                    </a:lnTo>
                    <a:lnTo>
                      <a:pt x="1" y="1471"/>
                    </a:lnTo>
                    <a:lnTo>
                      <a:pt x="2" y="1497"/>
                    </a:lnTo>
                    <a:lnTo>
                      <a:pt x="4" y="1520"/>
                    </a:lnTo>
                    <a:lnTo>
                      <a:pt x="7" y="1545"/>
                    </a:lnTo>
                    <a:lnTo>
                      <a:pt x="10" y="1569"/>
                    </a:lnTo>
                    <a:lnTo>
                      <a:pt x="15" y="1592"/>
                    </a:lnTo>
                    <a:lnTo>
                      <a:pt x="20" y="1614"/>
                    </a:lnTo>
                    <a:lnTo>
                      <a:pt x="25" y="1637"/>
                    </a:lnTo>
                    <a:lnTo>
                      <a:pt x="32" y="1658"/>
                    </a:lnTo>
                    <a:lnTo>
                      <a:pt x="38" y="1680"/>
                    </a:lnTo>
                    <a:lnTo>
                      <a:pt x="47" y="1701"/>
                    </a:lnTo>
                    <a:lnTo>
                      <a:pt x="55" y="1721"/>
                    </a:lnTo>
                    <a:lnTo>
                      <a:pt x="64" y="1741"/>
                    </a:lnTo>
                    <a:lnTo>
                      <a:pt x="74" y="1760"/>
                    </a:lnTo>
                    <a:lnTo>
                      <a:pt x="84" y="1779"/>
                    </a:lnTo>
                    <a:lnTo>
                      <a:pt x="96" y="1798"/>
                    </a:lnTo>
                    <a:lnTo>
                      <a:pt x="107" y="1815"/>
                    </a:lnTo>
                    <a:lnTo>
                      <a:pt x="119" y="1833"/>
                    </a:lnTo>
                    <a:lnTo>
                      <a:pt x="137" y="1854"/>
                    </a:lnTo>
                    <a:lnTo>
                      <a:pt x="154" y="1873"/>
                    </a:lnTo>
                    <a:lnTo>
                      <a:pt x="171" y="1892"/>
                    </a:lnTo>
                    <a:lnTo>
                      <a:pt x="189" y="1909"/>
                    </a:lnTo>
                    <a:lnTo>
                      <a:pt x="209" y="1926"/>
                    </a:lnTo>
                    <a:lnTo>
                      <a:pt x="228" y="1941"/>
                    </a:lnTo>
                    <a:lnTo>
                      <a:pt x="249" y="1956"/>
                    </a:lnTo>
                    <a:lnTo>
                      <a:pt x="269" y="1969"/>
                    </a:lnTo>
                    <a:lnTo>
                      <a:pt x="290" y="1982"/>
                    </a:lnTo>
                    <a:lnTo>
                      <a:pt x="311" y="1994"/>
                    </a:lnTo>
                    <a:lnTo>
                      <a:pt x="333" y="2005"/>
                    </a:lnTo>
                    <a:lnTo>
                      <a:pt x="355" y="2016"/>
                    </a:lnTo>
                    <a:lnTo>
                      <a:pt x="376" y="2026"/>
                    </a:lnTo>
                    <a:lnTo>
                      <a:pt x="398" y="2034"/>
                    </a:lnTo>
                    <a:lnTo>
                      <a:pt x="420" y="2042"/>
                    </a:lnTo>
                    <a:lnTo>
                      <a:pt x="442" y="2049"/>
                    </a:lnTo>
                    <a:lnTo>
                      <a:pt x="465" y="2056"/>
                    </a:lnTo>
                    <a:lnTo>
                      <a:pt x="486" y="2061"/>
                    </a:lnTo>
                    <a:lnTo>
                      <a:pt x="509" y="2067"/>
                    </a:lnTo>
                    <a:lnTo>
                      <a:pt x="531" y="2072"/>
                    </a:lnTo>
                    <a:lnTo>
                      <a:pt x="573" y="2079"/>
                    </a:lnTo>
                    <a:lnTo>
                      <a:pt x="615" y="2086"/>
                    </a:lnTo>
                    <a:lnTo>
                      <a:pt x="655" y="2090"/>
                    </a:lnTo>
                    <a:lnTo>
                      <a:pt x="692" y="2092"/>
                    </a:lnTo>
                    <a:lnTo>
                      <a:pt x="728" y="2094"/>
                    </a:lnTo>
                    <a:lnTo>
                      <a:pt x="760" y="2095"/>
                    </a:lnTo>
                    <a:lnTo>
                      <a:pt x="822" y="2094"/>
                    </a:lnTo>
                    <a:lnTo>
                      <a:pt x="882" y="2091"/>
                    </a:lnTo>
                    <a:lnTo>
                      <a:pt x="941" y="2089"/>
                    </a:lnTo>
                    <a:lnTo>
                      <a:pt x="997" y="2085"/>
                    </a:lnTo>
                    <a:lnTo>
                      <a:pt x="1051" y="2079"/>
                    </a:lnTo>
                    <a:lnTo>
                      <a:pt x="1104" y="2074"/>
                    </a:lnTo>
                    <a:lnTo>
                      <a:pt x="1153" y="2068"/>
                    </a:lnTo>
                    <a:lnTo>
                      <a:pt x="1201" y="2060"/>
                    </a:lnTo>
                    <a:lnTo>
                      <a:pt x="1246" y="2051"/>
                    </a:lnTo>
                    <a:lnTo>
                      <a:pt x="1289" y="2044"/>
                    </a:lnTo>
                    <a:lnTo>
                      <a:pt x="1329" y="2034"/>
                    </a:lnTo>
                    <a:lnTo>
                      <a:pt x="1367" y="2026"/>
                    </a:lnTo>
                    <a:lnTo>
                      <a:pt x="1402" y="2016"/>
                    </a:lnTo>
                    <a:lnTo>
                      <a:pt x="1433" y="2007"/>
                    </a:lnTo>
                    <a:lnTo>
                      <a:pt x="1462" y="1997"/>
                    </a:lnTo>
                    <a:lnTo>
                      <a:pt x="1487" y="1988"/>
                    </a:lnTo>
                    <a:lnTo>
                      <a:pt x="1491" y="1975"/>
                    </a:lnTo>
                    <a:lnTo>
                      <a:pt x="1501" y="1940"/>
                    </a:lnTo>
                    <a:lnTo>
                      <a:pt x="1516" y="1887"/>
                    </a:lnTo>
                    <a:lnTo>
                      <a:pt x="1535" y="1818"/>
                    </a:lnTo>
                    <a:lnTo>
                      <a:pt x="1559" y="1737"/>
                    </a:lnTo>
                    <a:lnTo>
                      <a:pt x="1585" y="1647"/>
                    </a:lnTo>
                    <a:lnTo>
                      <a:pt x="1612" y="1551"/>
                    </a:lnTo>
                    <a:lnTo>
                      <a:pt x="1641" y="1451"/>
                    </a:lnTo>
                    <a:lnTo>
                      <a:pt x="1669" y="1351"/>
                    </a:lnTo>
                    <a:lnTo>
                      <a:pt x="1697" y="1254"/>
                    </a:lnTo>
                    <a:lnTo>
                      <a:pt x="1723" y="1163"/>
                    </a:lnTo>
                    <a:lnTo>
                      <a:pt x="1747" y="1081"/>
                    </a:lnTo>
                    <a:lnTo>
                      <a:pt x="1768" y="1011"/>
                    </a:lnTo>
                    <a:lnTo>
                      <a:pt x="1783" y="957"/>
                    </a:lnTo>
                    <a:lnTo>
                      <a:pt x="1793" y="920"/>
                    </a:lnTo>
                    <a:lnTo>
                      <a:pt x="1798" y="906"/>
                    </a:lnTo>
                    <a:lnTo>
                      <a:pt x="1761" y="906"/>
                    </a:lnTo>
                    <a:lnTo>
                      <a:pt x="1677" y="906"/>
                    </a:lnTo>
                    <a:lnTo>
                      <a:pt x="1560" y="906"/>
                    </a:lnTo>
                    <a:lnTo>
                      <a:pt x="1429" y="906"/>
                    </a:lnTo>
                    <a:lnTo>
                      <a:pt x="1297" y="906"/>
                    </a:lnTo>
                    <a:lnTo>
                      <a:pt x="1181" y="906"/>
                    </a:lnTo>
                    <a:lnTo>
                      <a:pt x="1098" y="906"/>
                    </a:lnTo>
                    <a:lnTo>
                      <a:pt x="1065" y="906"/>
                    </a:lnTo>
                    <a:lnTo>
                      <a:pt x="1061" y="922"/>
                    </a:lnTo>
                    <a:lnTo>
                      <a:pt x="1050" y="959"/>
                    </a:lnTo>
                    <a:lnTo>
                      <a:pt x="1035" y="1010"/>
                    </a:lnTo>
                    <a:lnTo>
                      <a:pt x="1018" y="1068"/>
                    </a:lnTo>
                    <a:lnTo>
                      <a:pt x="1001" y="1127"/>
                    </a:lnTo>
                    <a:lnTo>
                      <a:pt x="986" y="1179"/>
                    </a:lnTo>
                    <a:lnTo>
                      <a:pt x="975" y="1218"/>
                    </a:lnTo>
                    <a:lnTo>
                      <a:pt x="970" y="1236"/>
                    </a:lnTo>
                    <a:lnTo>
                      <a:pt x="987" y="1236"/>
                    </a:lnTo>
                    <a:lnTo>
                      <a:pt x="1020" y="1236"/>
                    </a:lnTo>
                    <a:lnTo>
                      <a:pt x="1063" y="1236"/>
                    </a:lnTo>
                    <a:lnTo>
                      <a:pt x="1111" y="1236"/>
                    </a:lnTo>
                    <a:lnTo>
                      <a:pt x="1159" y="1236"/>
                    </a:lnTo>
                    <a:lnTo>
                      <a:pt x="1201" y="1236"/>
                    </a:lnTo>
                    <a:lnTo>
                      <a:pt x="1229" y="1236"/>
                    </a:lnTo>
                    <a:lnTo>
                      <a:pt x="1241" y="1236"/>
                    </a:lnTo>
                    <a:lnTo>
                      <a:pt x="1243" y="1237"/>
                    </a:lnTo>
                    <a:lnTo>
                      <a:pt x="1246" y="1239"/>
                    </a:lnTo>
                    <a:lnTo>
                      <a:pt x="1247" y="1242"/>
                    </a:lnTo>
                    <a:lnTo>
                      <a:pt x="1247" y="1245"/>
                    </a:lnTo>
                    <a:lnTo>
                      <a:pt x="1115" y="1706"/>
                    </a:lnTo>
                    <a:lnTo>
                      <a:pt x="1113" y="1709"/>
                    </a:lnTo>
                    <a:lnTo>
                      <a:pt x="1110" y="1710"/>
                    </a:lnTo>
                    <a:lnTo>
                      <a:pt x="1092" y="1718"/>
                    </a:lnTo>
                    <a:lnTo>
                      <a:pt x="1072" y="1723"/>
                    </a:lnTo>
                    <a:lnTo>
                      <a:pt x="1052" y="1729"/>
                    </a:lnTo>
                    <a:lnTo>
                      <a:pt x="1029" y="1733"/>
                    </a:lnTo>
                    <a:lnTo>
                      <a:pt x="1007" y="1736"/>
                    </a:lnTo>
                    <a:lnTo>
                      <a:pt x="981" y="1738"/>
                    </a:lnTo>
                    <a:lnTo>
                      <a:pt x="955" y="1741"/>
                    </a:lnTo>
                    <a:lnTo>
                      <a:pt x="927" y="1741"/>
                    </a:lnTo>
                    <a:lnTo>
                      <a:pt x="899" y="1739"/>
                    </a:lnTo>
                    <a:lnTo>
                      <a:pt x="871" y="1738"/>
                    </a:lnTo>
                    <a:lnTo>
                      <a:pt x="845" y="1735"/>
                    </a:lnTo>
                    <a:lnTo>
                      <a:pt x="819" y="1732"/>
                    </a:lnTo>
                    <a:lnTo>
                      <a:pt x="795" y="1726"/>
                    </a:lnTo>
                    <a:lnTo>
                      <a:pt x="771" y="1720"/>
                    </a:lnTo>
                    <a:lnTo>
                      <a:pt x="749" y="1714"/>
                    </a:lnTo>
                    <a:lnTo>
                      <a:pt x="727" y="1705"/>
                    </a:lnTo>
                    <a:lnTo>
                      <a:pt x="706" y="1695"/>
                    </a:lnTo>
                    <a:lnTo>
                      <a:pt x="687" y="1685"/>
                    </a:lnTo>
                    <a:lnTo>
                      <a:pt x="668" y="1674"/>
                    </a:lnTo>
                    <a:lnTo>
                      <a:pt x="650" y="1661"/>
                    </a:lnTo>
                    <a:lnTo>
                      <a:pt x="633" y="1647"/>
                    </a:lnTo>
                    <a:lnTo>
                      <a:pt x="618" y="1633"/>
                    </a:lnTo>
                    <a:lnTo>
                      <a:pt x="603" y="1616"/>
                    </a:lnTo>
                    <a:lnTo>
                      <a:pt x="589" y="1599"/>
                    </a:lnTo>
                    <a:lnTo>
                      <a:pt x="581" y="1588"/>
                    </a:lnTo>
                    <a:lnTo>
                      <a:pt x="574" y="1576"/>
                    </a:lnTo>
                    <a:lnTo>
                      <a:pt x="566" y="1563"/>
                    </a:lnTo>
                    <a:lnTo>
                      <a:pt x="559" y="1552"/>
                    </a:lnTo>
                    <a:lnTo>
                      <a:pt x="552" y="1538"/>
                    </a:lnTo>
                    <a:lnTo>
                      <a:pt x="547" y="1525"/>
                    </a:lnTo>
                    <a:lnTo>
                      <a:pt x="541" y="1511"/>
                    </a:lnTo>
                    <a:lnTo>
                      <a:pt x="536" y="1497"/>
                    </a:lnTo>
                    <a:lnTo>
                      <a:pt x="527" y="1466"/>
                    </a:lnTo>
                    <a:lnTo>
                      <a:pt x="521" y="1435"/>
                    </a:lnTo>
                    <a:lnTo>
                      <a:pt x="515" y="1403"/>
                    </a:lnTo>
                    <a:lnTo>
                      <a:pt x="512" y="1369"/>
                    </a:lnTo>
                    <a:lnTo>
                      <a:pt x="511" y="1334"/>
                    </a:lnTo>
                    <a:lnTo>
                      <a:pt x="511" y="1297"/>
                    </a:lnTo>
                    <a:lnTo>
                      <a:pt x="513" y="1259"/>
                    </a:lnTo>
                    <a:lnTo>
                      <a:pt x="518" y="1220"/>
                    </a:lnTo>
                    <a:lnTo>
                      <a:pt x="523" y="1180"/>
                    </a:lnTo>
                    <a:lnTo>
                      <a:pt x="532" y="1139"/>
                    </a:lnTo>
                    <a:lnTo>
                      <a:pt x="541" y="1097"/>
                    </a:lnTo>
                    <a:lnTo>
                      <a:pt x="552" y="1054"/>
                    </a:lnTo>
                    <a:lnTo>
                      <a:pt x="559" y="1035"/>
                    </a:lnTo>
                    <a:lnTo>
                      <a:pt x="569" y="1003"/>
                    </a:lnTo>
                    <a:lnTo>
                      <a:pt x="585" y="963"/>
                    </a:lnTo>
                    <a:lnTo>
                      <a:pt x="605" y="915"/>
                    </a:lnTo>
                    <a:lnTo>
                      <a:pt x="617" y="889"/>
                    </a:lnTo>
                    <a:lnTo>
                      <a:pt x="631" y="861"/>
                    </a:lnTo>
                    <a:lnTo>
                      <a:pt x="646" y="832"/>
                    </a:lnTo>
                    <a:lnTo>
                      <a:pt x="663" y="801"/>
                    </a:lnTo>
                    <a:lnTo>
                      <a:pt x="682" y="771"/>
                    </a:lnTo>
                    <a:lnTo>
                      <a:pt x="701" y="740"/>
                    </a:lnTo>
                    <a:lnTo>
                      <a:pt x="723" y="709"/>
                    </a:lnTo>
                    <a:lnTo>
                      <a:pt x="746" y="677"/>
                    </a:lnTo>
                    <a:lnTo>
                      <a:pt x="771" y="647"/>
                    </a:lnTo>
                    <a:lnTo>
                      <a:pt x="798" y="616"/>
                    </a:lnTo>
                    <a:lnTo>
                      <a:pt x="827" y="587"/>
                    </a:lnTo>
                    <a:lnTo>
                      <a:pt x="858" y="557"/>
                    </a:lnTo>
                    <a:lnTo>
                      <a:pt x="890" y="529"/>
                    </a:lnTo>
                    <a:lnTo>
                      <a:pt x="925" y="502"/>
                    </a:lnTo>
                    <a:lnTo>
                      <a:pt x="961" y="478"/>
                    </a:lnTo>
                    <a:lnTo>
                      <a:pt x="999" y="454"/>
                    </a:lnTo>
                    <a:lnTo>
                      <a:pt x="1040" y="432"/>
                    </a:lnTo>
                    <a:lnTo>
                      <a:pt x="1083" y="413"/>
                    </a:lnTo>
                    <a:lnTo>
                      <a:pt x="1127" y="397"/>
                    </a:lnTo>
                    <a:lnTo>
                      <a:pt x="1175" y="381"/>
                    </a:lnTo>
                    <a:lnTo>
                      <a:pt x="1225" y="371"/>
                    </a:lnTo>
                    <a:lnTo>
                      <a:pt x="1276" y="362"/>
                    </a:lnTo>
                    <a:lnTo>
                      <a:pt x="1330" y="357"/>
                    </a:lnTo>
                    <a:lnTo>
                      <a:pt x="1387" y="354"/>
                    </a:lnTo>
                    <a:lnTo>
                      <a:pt x="1428" y="356"/>
                    </a:lnTo>
                    <a:lnTo>
                      <a:pt x="1466" y="358"/>
                    </a:lnTo>
                    <a:lnTo>
                      <a:pt x="1504" y="362"/>
                    </a:lnTo>
                    <a:lnTo>
                      <a:pt x="1540" y="366"/>
                    </a:lnTo>
                    <a:lnTo>
                      <a:pt x="1573" y="373"/>
                    </a:lnTo>
                    <a:lnTo>
                      <a:pt x="1606" y="379"/>
                    </a:lnTo>
                    <a:lnTo>
                      <a:pt x="1636" y="387"/>
                    </a:lnTo>
                    <a:lnTo>
                      <a:pt x="1665" y="395"/>
                    </a:lnTo>
                    <a:lnTo>
                      <a:pt x="1692" y="404"/>
                    </a:lnTo>
                    <a:lnTo>
                      <a:pt x="1717" y="413"/>
                    </a:lnTo>
                    <a:lnTo>
                      <a:pt x="1741" y="422"/>
                    </a:lnTo>
                    <a:lnTo>
                      <a:pt x="1763" y="431"/>
                    </a:lnTo>
                    <a:lnTo>
                      <a:pt x="1803" y="449"/>
                    </a:lnTo>
                    <a:lnTo>
                      <a:pt x="1836" y="466"/>
                    </a:lnTo>
                    <a:lnTo>
                      <a:pt x="1843" y="446"/>
                    </a:lnTo>
                    <a:lnTo>
                      <a:pt x="1859" y="402"/>
                    </a:lnTo>
                    <a:lnTo>
                      <a:pt x="1881" y="341"/>
                    </a:lnTo>
                    <a:lnTo>
                      <a:pt x="1906" y="272"/>
                    </a:lnTo>
                    <a:lnTo>
                      <a:pt x="1931" y="204"/>
                    </a:lnTo>
                    <a:lnTo>
                      <a:pt x="1953" y="144"/>
                    </a:lnTo>
                    <a:lnTo>
                      <a:pt x="1968" y="100"/>
                    </a:lnTo>
                    <a:lnTo>
                      <a:pt x="1976" y="80"/>
                    </a:lnTo>
                    <a:lnTo>
                      <a:pt x="1934" y="68"/>
                    </a:lnTo>
                    <a:lnTo>
                      <a:pt x="1886" y="54"/>
                    </a:lnTo>
                    <a:lnTo>
                      <a:pt x="1831" y="41"/>
                    </a:lnTo>
                    <a:lnTo>
                      <a:pt x="1771" y="28"/>
                    </a:lnTo>
                    <a:lnTo>
                      <a:pt x="1737" y="23"/>
                    </a:lnTo>
                    <a:lnTo>
                      <a:pt x="1702" y="18"/>
                    </a:lnTo>
                    <a:lnTo>
                      <a:pt x="1665" y="13"/>
                    </a:lnTo>
                    <a:lnTo>
                      <a:pt x="1626" y="9"/>
                    </a:lnTo>
                    <a:lnTo>
                      <a:pt x="1586" y="6"/>
                    </a:lnTo>
                    <a:lnTo>
                      <a:pt x="1543" y="3"/>
                    </a:lnTo>
                    <a:lnTo>
                      <a:pt x="1499" y="1"/>
                    </a:lnTo>
                    <a:lnTo>
                      <a:pt x="1452" y="0"/>
                    </a:lnTo>
                    <a:lnTo>
                      <a:pt x="1378" y="3"/>
                    </a:lnTo>
                    <a:lnTo>
                      <a:pt x="1306" y="7"/>
                    </a:lnTo>
                    <a:lnTo>
                      <a:pt x="1235" y="14"/>
                    </a:lnTo>
                    <a:lnTo>
                      <a:pt x="1167" y="24"/>
                    </a:lnTo>
                    <a:lnTo>
                      <a:pt x="1102" y="38"/>
                    </a:lnTo>
                    <a:lnTo>
                      <a:pt x="1037" y="53"/>
                    </a:lnTo>
                    <a:lnTo>
                      <a:pt x="975" y="72"/>
                    </a:lnTo>
                    <a:lnTo>
                      <a:pt x="915" y="92"/>
                    </a:lnTo>
                    <a:lnTo>
                      <a:pt x="858" y="115"/>
                    </a:lnTo>
                    <a:lnTo>
                      <a:pt x="801" y="141"/>
                    </a:lnTo>
                    <a:lnTo>
                      <a:pt x="748" y="168"/>
                    </a:lnTo>
                    <a:lnTo>
                      <a:pt x="696" y="197"/>
                    </a:lnTo>
                    <a:lnTo>
                      <a:pt x="646" y="228"/>
                    </a:lnTo>
                    <a:lnTo>
                      <a:pt x="599" y="261"/>
                    </a:lnTo>
                    <a:lnTo>
                      <a:pt x="552" y="295"/>
                    </a:lnTo>
                    <a:lnTo>
                      <a:pt x="509" y="331"/>
                    </a:lnTo>
                    <a:lnTo>
                      <a:pt x="467" y="368"/>
                    </a:lnTo>
                    <a:lnTo>
                      <a:pt x="427" y="407"/>
                    </a:lnTo>
                    <a:lnTo>
                      <a:pt x="388" y="448"/>
                    </a:lnTo>
                    <a:lnTo>
                      <a:pt x="352" y="489"/>
                    </a:lnTo>
                    <a:lnTo>
                      <a:pt x="318" y="531"/>
                    </a:lnTo>
                    <a:lnTo>
                      <a:pt x="286" y="575"/>
                    </a:lnTo>
                    <a:lnTo>
                      <a:pt x="255" y="619"/>
                    </a:lnTo>
                    <a:lnTo>
                      <a:pt x="226" y="664"/>
                    </a:lnTo>
                    <a:lnTo>
                      <a:pt x="199" y="710"/>
                    </a:lnTo>
                    <a:lnTo>
                      <a:pt x="174" y="756"/>
                    </a:lnTo>
                    <a:lnTo>
                      <a:pt x="151" y="802"/>
                    </a:lnTo>
                    <a:lnTo>
                      <a:pt x="129" y="849"/>
                    </a:lnTo>
                    <a:lnTo>
                      <a:pt x="110" y="896"/>
                    </a:lnTo>
                    <a:lnTo>
                      <a:pt x="92" y="944"/>
                    </a:lnTo>
                    <a:lnTo>
                      <a:pt x="76" y="990"/>
                    </a:lnTo>
                    <a:lnTo>
                      <a:pt x="61" y="10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32" name="Freeform 107">
                <a:extLst>
                  <a:ext uri="{FF2B5EF4-FFF2-40B4-BE49-F238E27FC236}">
                    <a16:creationId xmlns:a16="http://schemas.microsoft.com/office/drawing/2014/main" id="{54AE456F-F0F3-4FE2-9E18-4B3642FAA53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81766" y="2415512"/>
                <a:ext cx="202788" cy="221076"/>
              </a:xfrm>
              <a:custGeom>
                <a:avLst/>
                <a:gdLst>
                  <a:gd name="T0" fmla="*/ 0 w 1918"/>
                  <a:gd name="T1" fmla="*/ 0 h 2095"/>
                  <a:gd name="T2" fmla="*/ 0 w 1918"/>
                  <a:gd name="T3" fmla="*/ 0 h 2095"/>
                  <a:gd name="T4" fmla="*/ 0 w 1918"/>
                  <a:gd name="T5" fmla="*/ 0 h 2095"/>
                  <a:gd name="T6" fmla="*/ 0 w 1918"/>
                  <a:gd name="T7" fmla="*/ 0 h 2095"/>
                  <a:gd name="T8" fmla="*/ 0 w 1918"/>
                  <a:gd name="T9" fmla="*/ 0 h 2095"/>
                  <a:gd name="T10" fmla="*/ 0 w 1918"/>
                  <a:gd name="T11" fmla="*/ 0 h 2095"/>
                  <a:gd name="T12" fmla="*/ 0 w 1918"/>
                  <a:gd name="T13" fmla="*/ 0 h 2095"/>
                  <a:gd name="T14" fmla="*/ 0 w 1918"/>
                  <a:gd name="T15" fmla="*/ 0 h 2095"/>
                  <a:gd name="T16" fmla="*/ 0 w 1918"/>
                  <a:gd name="T17" fmla="*/ 0 h 2095"/>
                  <a:gd name="T18" fmla="*/ 0 w 1918"/>
                  <a:gd name="T19" fmla="*/ 0 h 2095"/>
                  <a:gd name="T20" fmla="*/ 0 w 1918"/>
                  <a:gd name="T21" fmla="*/ 0 h 2095"/>
                  <a:gd name="T22" fmla="*/ 0 w 1918"/>
                  <a:gd name="T23" fmla="*/ 0 h 2095"/>
                  <a:gd name="T24" fmla="*/ 0 w 1918"/>
                  <a:gd name="T25" fmla="*/ 0 h 2095"/>
                  <a:gd name="T26" fmla="*/ 0 w 1918"/>
                  <a:gd name="T27" fmla="*/ 0 h 2095"/>
                  <a:gd name="T28" fmla="*/ 0 w 1918"/>
                  <a:gd name="T29" fmla="*/ 0 h 2095"/>
                  <a:gd name="T30" fmla="*/ 0 w 1918"/>
                  <a:gd name="T31" fmla="*/ 0 h 2095"/>
                  <a:gd name="T32" fmla="*/ 0 w 1918"/>
                  <a:gd name="T33" fmla="*/ 0 h 2095"/>
                  <a:gd name="T34" fmla="*/ 0 w 1918"/>
                  <a:gd name="T35" fmla="*/ 0 h 2095"/>
                  <a:gd name="T36" fmla="*/ 0 w 1918"/>
                  <a:gd name="T37" fmla="*/ 0 h 2095"/>
                  <a:gd name="T38" fmla="*/ 0 w 1918"/>
                  <a:gd name="T39" fmla="*/ 0 h 2095"/>
                  <a:gd name="T40" fmla="*/ 0 w 1918"/>
                  <a:gd name="T41" fmla="*/ 0 h 2095"/>
                  <a:gd name="T42" fmla="*/ 0 w 1918"/>
                  <a:gd name="T43" fmla="*/ 0 h 2095"/>
                  <a:gd name="T44" fmla="*/ 0 w 1918"/>
                  <a:gd name="T45" fmla="*/ 0 h 2095"/>
                  <a:gd name="T46" fmla="*/ 0 w 1918"/>
                  <a:gd name="T47" fmla="*/ 0 h 2095"/>
                  <a:gd name="T48" fmla="*/ 0 w 1918"/>
                  <a:gd name="T49" fmla="*/ 0 h 2095"/>
                  <a:gd name="T50" fmla="*/ 0 w 1918"/>
                  <a:gd name="T51" fmla="*/ 0 h 2095"/>
                  <a:gd name="T52" fmla="*/ 0 w 1918"/>
                  <a:gd name="T53" fmla="*/ 0 h 2095"/>
                  <a:gd name="T54" fmla="*/ 0 w 1918"/>
                  <a:gd name="T55" fmla="*/ 0 h 2095"/>
                  <a:gd name="T56" fmla="*/ 0 w 1918"/>
                  <a:gd name="T57" fmla="*/ 0 h 2095"/>
                  <a:gd name="T58" fmla="*/ 0 w 1918"/>
                  <a:gd name="T59" fmla="*/ 0 h 2095"/>
                  <a:gd name="T60" fmla="*/ 0 w 1918"/>
                  <a:gd name="T61" fmla="*/ 0 h 2095"/>
                  <a:gd name="T62" fmla="*/ 0 w 1918"/>
                  <a:gd name="T63" fmla="*/ 0 h 2095"/>
                  <a:gd name="T64" fmla="*/ 0 w 1918"/>
                  <a:gd name="T65" fmla="*/ 0 h 2095"/>
                  <a:gd name="T66" fmla="*/ 0 w 1918"/>
                  <a:gd name="T67" fmla="*/ 0 h 2095"/>
                  <a:gd name="T68" fmla="*/ 0 w 1918"/>
                  <a:gd name="T69" fmla="*/ 0 h 2095"/>
                  <a:gd name="T70" fmla="*/ 0 w 1918"/>
                  <a:gd name="T71" fmla="*/ 0 h 2095"/>
                  <a:gd name="T72" fmla="*/ 0 w 1918"/>
                  <a:gd name="T73" fmla="*/ 0 h 2095"/>
                  <a:gd name="T74" fmla="*/ 0 w 1918"/>
                  <a:gd name="T75" fmla="*/ 0 h 2095"/>
                  <a:gd name="T76" fmla="*/ 0 w 1918"/>
                  <a:gd name="T77" fmla="*/ 0 h 2095"/>
                  <a:gd name="T78" fmla="*/ 0 w 1918"/>
                  <a:gd name="T79" fmla="*/ 0 h 2095"/>
                  <a:gd name="T80" fmla="*/ 0 w 1918"/>
                  <a:gd name="T81" fmla="*/ 0 h 2095"/>
                  <a:gd name="T82" fmla="*/ 0 w 1918"/>
                  <a:gd name="T83" fmla="*/ 0 h 2095"/>
                  <a:gd name="T84" fmla="*/ 0 w 1918"/>
                  <a:gd name="T85" fmla="*/ 0 h 2095"/>
                  <a:gd name="T86" fmla="*/ 0 w 1918"/>
                  <a:gd name="T87" fmla="*/ 0 h 2095"/>
                  <a:gd name="T88" fmla="*/ 0 w 1918"/>
                  <a:gd name="T89" fmla="*/ 0 h 2095"/>
                  <a:gd name="T90" fmla="*/ 0 w 1918"/>
                  <a:gd name="T91" fmla="*/ 0 h 2095"/>
                  <a:gd name="T92" fmla="*/ 0 w 1918"/>
                  <a:gd name="T93" fmla="*/ 0 h 2095"/>
                  <a:gd name="T94" fmla="*/ 0 w 1918"/>
                  <a:gd name="T95" fmla="*/ 0 h 2095"/>
                  <a:gd name="T96" fmla="*/ 0 w 1918"/>
                  <a:gd name="T97" fmla="*/ 0 h 2095"/>
                  <a:gd name="T98" fmla="*/ 0 w 1918"/>
                  <a:gd name="T99" fmla="*/ 0 h 2095"/>
                  <a:gd name="T100" fmla="*/ 0 w 1918"/>
                  <a:gd name="T101" fmla="*/ 0 h 2095"/>
                  <a:gd name="T102" fmla="*/ 0 w 1918"/>
                  <a:gd name="T103" fmla="*/ 0 h 2095"/>
                  <a:gd name="T104" fmla="*/ 0 w 1918"/>
                  <a:gd name="T105" fmla="*/ 0 h 2095"/>
                  <a:gd name="T106" fmla="*/ 0 w 1918"/>
                  <a:gd name="T107" fmla="*/ 0 h 2095"/>
                  <a:gd name="T108" fmla="*/ 0 w 1918"/>
                  <a:gd name="T109" fmla="*/ 0 h 2095"/>
                  <a:gd name="T110" fmla="*/ 0 w 1918"/>
                  <a:gd name="T111" fmla="*/ 0 h 2095"/>
                  <a:gd name="T112" fmla="*/ 0 w 1918"/>
                  <a:gd name="T113" fmla="*/ 0 h 2095"/>
                  <a:gd name="T114" fmla="*/ 0 w 1918"/>
                  <a:gd name="T115" fmla="*/ 0 h 2095"/>
                  <a:gd name="T116" fmla="*/ 0 w 1918"/>
                  <a:gd name="T117" fmla="*/ 0 h 2095"/>
                  <a:gd name="T118" fmla="*/ 0 w 1918"/>
                  <a:gd name="T119" fmla="*/ 0 h 2095"/>
                  <a:gd name="T120" fmla="*/ 0 w 1918"/>
                  <a:gd name="T121" fmla="*/ 0 h 2095"/>
                  <a:gd name="T122" fmla="*/ 0 w 1918"/>
                  <a:gd name="T123" fmla="*/ 0 h 2095"/>
                  <a:gd name="T124" fmla="*/ 0 w 1918"/>
                  <a:gd name="T125" fmla="*/ 0 h 209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918" h="2095">
                    <a:moveTo>
                      <a:pt x="1260" y="0"/>
                    </a:moveTo>
                    <a:lnTo>
                      <a:pt x="1208" y="1"/>
                    </a:lnTo>
                    <a:lnTo>
                      <a:pt x="1156" y="5"/>
                    </a:lnTo>
                    <a:lnTo>
                      <a:pt x="1105" y="11"/>
                    </a:lnTo>
                    <a:lnTo>
                      <a:pt x="1056" y="19"/>
                    </a:lnTo>
                    <a:lnTo>
                      <a:pt x="1006" y="28"/>
                    </a:lnTo>
                    <a:lnTo>
                      <a:pt x="958" y="41"/>
                    </a:lnTo>
                    <a:lnTo>
                      <a:pt x="910" y="55"/>
                    </a:lnTo>
                    <a:lnTo>
                      <a:pt x="863" y="73"/>
                    </a:lnTo>
                    <a:lnTo>
                      <a:pt x="818" y="91"/>
                    </a:lnTo>
                    <a:lnTo>
                      <a:pt x="773" y="112"/>
                    </a:lnTo>
                    <a:lnTo>
                      <a:pt x="729" y="134"/>
                    </a:lnTo>
                    <a:lnTo>
                      <a:pt x="685" y="159"/>
                    </a:lnTo>
                    <a:lnTo>
                      <a:pt x="643" y="186"/>
                    </a:lnTo>
                    <a:lnTo>
                      <a:pt x="602" y="215"/>
                    </a:lnTo>
                    <a:lnTo>
                      <a:pt x="562" y="245"/>
                    </a:lnTo>
                    <a:lnTo>
                      <a:pt x="523" y="279"/>
                    </a:lnTo>
                    <a:lnTo>
                      <a:pt x="486" y="313"/>
                    </a:lnTo>
                    <a:lnTo>
                      <a:pt x="449" y="350"/>
                    </a:lnTo>
                    <a:lnTo>
                      <a:pt x="413" y="389"/>
                    </a:lnTo>
                    <a:lnTo>
                      <a:pt x="379" y="429"/>
                    </a:lnTo>
                    <a:lnTo>
                      <a:pt x="345" y="471"/>
                    </a:lnTo>
                    <a:lnTo>
                      <a:pt x="313" y="515"/>
                    </a:lnTo>
                    <a:lnTo>
                      <a:pt x="283" y="561"/>
                    </a:lnTo>
                    <a:lnTo>
                      <a:pt x="253" y="608"/>
                    </a:lnTo>
                    <a:lnTo>
                      <a:pt x="224" y="658"/>
                    </a:lnTo>
                    <a:lnTo>
                      <a:pt x="197" y="709"/>
                    </a:lnTo>
                    <a:lnTo>
                      <a:pt x="173" y="761"/>
                    </a:lnTo>
                    <a:lnTo>
                      <a:pt x="148" y="815"/>
                    </a:lnTo>
                    <a:lnTo>
                      <a:pt x="125" y="872"/>
                    </a:lnTo>
                    <a:lnTo>
                      <a:pt x="104" y="930"/>
                    </a:lnTo>
                    <a:lnTo>
                      <a:pt x="84" y="988"/>
                    </a:lnTo>
                    <a:lnTo>
                      <a:pt x="66" y="1050"/>
                    </a:lnTo>
                    <a:lnTo>
                      <a:pt x="56" y="1083"/>
                    </a:lnTo>
                    <a:lnTo>
                      <a:pt x="47" y="1115"/>
                    </a:lnTo>
                    <a:lnTo>
                      <a:pt x="40" y="1148"/>
                    </a:lnTo>
                    <a:lnTo>
                      <a:pt x="32" y="1180"/>
                    </a:lnTo>
                    <a:lnTo>
                      <a:pt x="26" y="1212"/>
                    </a:lnTo>
                    <a:lnTo>
                      <a:pt x="20" y="1243"/>
                    </a:lnTo>
                    <a:lnTo>
                      <a:pt x="16" y="1273"/>
                    </a:lnTo>
                    <a:lnTo>
                      <a:pt x="12" y="1303"/>
                    </a:lnTo>
                    <a:lnTo>
                      <a:pt x="7" y="1334"/>
                    </a:lnTo>
                    <a:lnTo>
                      <a:pt x="5" y="1363"/>
                    </a:lnTo>
                    <a:lnTo>
                      <a:pt x="3" y="1392"/>
                    </a:lnTo>
                    <a:lnTo>
                      <a:pt x="1" y="1420"/>
                    </a:lnTo>
                    <a:lnTo>
                      <a:pt x="0" y="1448"/>
                    </a:lnTo>
                    <a:lnTo>
                      <a:pt x="0" y="1475"/>
                    </a:lnTo>
                    <a:lnTo>
                      <a:pt x="1" y="1502"/>
                    </a:lnTo>
                    <a:lnTo>
                      <a:pt x="2" y="1528"/>
                    </a:lnTo>
                    <a:lnTo>
                      <a:pt x="4" y="1554"/>
                    </a:lnTo>
                    <a:lnTo>
                      <a:pt x="7" y="1579"/>
                    </a:lnTo>
                    <a:lnTo>
                      <a:pt x="11" y="1603"/>
                    </a:lnTo>
                    <a:lnTo>
                      <a:pt x="15" y="1628"/>
                    </a:lnTo>
                    <a:lnTo>
                      <a:pt x="19" y="1652"/>
                    </a:lnTo>
                    <a:lnTo>
                      <a:pt x="25" y="1675"/>
                    </a:lnTo>
                    <a:lnTo>
                      <a:pt x="31" y="1697"/>
                    </a:lnTo>
                    <a:lnTo>
                      <a:pt x="39" y="1720"/>
                    </a:lnTo>
                    <a:lnTo>
                      <a:pt x="46" y="1741"/>
                    </a:lnTo>
                    <a:lnTo>
                      <a:pt x="55" y="1762"/>
                    </a:lnTo>
                    <a:lnTo>
                      <a:pt x="64" y="1783"/>
                    </a:lnTo>
                    <a:lnTo>
                      <a:pt x="73" y="1802"/>
                    </a:lnTo>
                    <a:lnTo>
                      <a:pt x="84" y="1821"/>
                    </a:lnTo>
                    <a:lnTo>
                      <a:pt x="95" y="1840"/>
                    </a:lnTo>
                    <a:lnTo>
                      <a:pt x="107" y="1858"/>
                    </a:lnTo>
                    <a:lnTo>
                      <a:pt x="120" y="1875"/>
                    </a:lnTo>
                    <a:lnTo>
                      <a:pt x="129" y="1888"/>
                    </a:lnTo>
                    <a:lnTo>
                      <a:pt x="140" y="1901"/>
                    </a:lnTo>
                    <a:lnTo>
                      <a:pt x="152" y="1914"/>
                    </a:lnTo>
                    <a:lnTo>
                      <a:pt x="164" y="1926"/>
                    </a:lnTo>
                    <a:lnTo>
                      <a:pt x="176" y="1938"/>
                    </a:lnTo>
                    <a:lnTo>
                      <a:pt x="189" y="1950"/>
                    </a:lnTo>
                    <a:lnTo>
                      <a:pt x="202" y="1961"/>
                    </a:lnTo>
                    <a:lnTo>
                      <a:pt x="215" y="1970"/>
                    </a:lnTo>
                    <a:lnTo>
                      <a:pt x="229" y="1981"/>
                    </a:lnTo>
                    <a:lnTo>
                      <a:pt x="243" y="1991"/>
                    </a:lnTo>
                    <a:lnTo>
                      <a:pt x="257" y="2000"/>
                    </a:lnTo>
                    <a:lnTo>
                      <a:pt x="272" y="2008"/>
                    </a:lnTo>
                    <a:lnTo>
                      <a:pt x="288" y="2017"/>
                    </a:lnTo>
                    <a:lnTo>
                      <a:pt x="303" y="2024"/>
                    </a:lnTo>
                    <a:lnTo>
                      <a:pt x="319" y="2032"/>
                    </a:lnTo>
                    <a:lnTo>
                      <a:pt x="336" y="2040"/>
                    </a:lnTo>
                    <a:lnTo>
                      <a:pt x="370" y="2052"/>
                    </a:lnTo>
                    <a:lnTo>
                      <a:pt x="407" y="2063"/>
                    </a:lnTo>
                    <a:lnTo>
                      <a:pt x="444" y="2073"/>
                    </a:lnTo>
                    <a:lnTo>
                      <a:pt x="483" y="2081"/>
                    </a:lnTo>
                    <a:lnTo>
                      <a:pt x="523" y="2087"/>
                    </a:lnTo>
                    <a:lnTo>
                      <a:pt x="567" y="2091"/>
                    </a:lnTo>
                    <a:lnTo>
                      <a:pt x="610" y="2094"/>
                    </a:lnTo>
                    <a:lnTo>
                      <a:pt x="655" y="2095"/>
                    </a:lnTo>
                    <a:lnTo>
                      <a:pt x="708" y="2094"/>
                    </a:lnTo>
                    <a:lnTo>
                      <a:pt x="760" y="2090"/>
                    </a:lnTo>
                    <a:lnTo>
                      <a:pt x="811" y="2084"/>
                    </a:lnTo>
                    <a:lnTo>
                      <a:pt x="860" y="2076"/>
                    </a:lnTo>
                    <a:lnTo>
                      <a:pt x="910" y="2067"/>
                    </a:lnTo>
                    <a:lnTo>
                      <a:pt x="958" y="2054"/>
                    </a:lnTo>
                    <a:lnTo>
                      <a:pt x="1006" y="2040"/>
                    </a:lnTo>
                    <a:lnTo>
                      <a:pt x="1053" y="2023"/>
                    </a:lnTo>
                    <a:lnTo>
                      <a:pt x="1099" y="2004"/>
                    </a:lnTo>
                    <a:lnTo>
                      <a:pt x="1144" y="1983"/>
                    </a:lnTo>
                    <a:lnTo>
                      <a:pt x="1188" y="1961"/>
                    </a:lnTo>
                    <a:lnTo>
                      <a:pt x="1232" y="1936"/>
                    </a:lnTo>
                    <a:lnTo>
                      <a:pt x="1274" y="1909"/>
                    </a:lnTo>
                    <a:lnTo>
                      <a:pt x="1315" y="1880"/>
                    </a:lnTo>
                    <a:lnTo>
                      <a:pt x="1355" y="1850"/>
                    </a:lnTo>
                    <a:lnTo>
                      <a:pt x="1394" y="1816"/>
                    </a:lnTo>
                    <a:lnTo>
                      <a:pt x="1432" y="1782"/>
                    </a:lnTo>
                    <a:lnTo>
                      <a:pt x="1469" y="1745"/>
                    </a:lnTo>
                    <a:lnTo>
                      <a:pt x="1505" y="1706"/>
                    </a:lnTo>
                    <a:lnTo>
                      <a:pt x="1539" y="1666"/>
                    </a:lnTo>
                    <a:lnTo>
                      <a:pt x="1573" y="1624"/>
                    </a:lnTo>
                    <a:lnTo>
                      <a:pt x="1605" y="1580"/>
                    </a:lnTo>
                    <a:lnTo>
                      <a:pt x="1635" y="1534"/>
                    </a:lnTo>
                    <a:lnTo>
                      <a:pt x="1665" y="1487"/>
                    </a:lnTo>
                    <a:lnTo>
                      <a:pt x="1693" y="1437"/>
                    </a:lnTo>
                    <a:lnTo>
                      <a:pt x="1720" y="1386"/>
                    </a:lnTo>
                    <a:lnTo>
                      <a:pt x="1746" y="1334"/>
                    </a:lnTo>
                    <a:lnTo>
                      <a:pt x="1770" y="1280"/>
                    </a:lnTo>
                    <a:lnTo>
                      <a:pt x="1793" y="1223"/>
                    </a:lnTo>
                    <a:lnTo>
                      <a:pt x="1814" y="1165"/>
                    </a:lnTo>
                    <a:lnTo>
                      <a:pt x="1835" y="1107"/>
                    </a:lnTo>
                    <a:lnTo>
                      <a:pt x="1853" y="1045"/>
                    </a:lnTo>
                    <a:lnTo>
                      <a:pt x="1862" y="1013"/>
                    </a:lnTo>
                    <a:lnTo>
                      <a:pt x="1870" y="979"/>
                    </a:lnTo>
                    <a:lnTo>
                      <a:pt x="1878" y="947"/>
                    </a:lnTo>
                    <a:lnTo>
                      <a:pt x="1886" y="916"/>
                    </a:lnTo>
                    <a:lnTo>
                      <a:pt x="1892" y="883"/>
                    </a:lnTo>
                    <a:lnTo>
                      <a:pt x="1897" y="853"/>
                    </a:lnTo>
                    <a:lnTo>
                      <a:pt x="1903" y="822"/>
                    </a:lnTo>
                    <a:lnTo>
                      <a:pt x="1907" y="792"/>
                    </a:lnTo>
                    <a:lnTo>
                      <a:pt x="1910" y="763"/>
                    </a:lnTo>
                    <a:lnTo>
                      <a:pt x="1914" y="733"/>
                    </a:lnTo>
                    <a:lnTo>
                      <a:pt x="1916" y="704"/>
                    </a:lnTo>
                    <a:lnTo>
                      <a:pt x="1917" y="676"/>
                    </a:lnTo>
                    <a:lnTo>
                      <a:pt x="1918" y="649"/>
                    </a:lnTo>
                    <a:lnTo>
                      <a:pt x="1918" y="621"/>
                    </a:lnTo>
                    <a:lnTo>
                      <a:pt x="1917" y="594"/>
                    </a:lnTo>
                    <a:lnTo>
                      <a:pt x="1916" y="568"/>
                    </a:lnTo>
                    <a:lnTo>
                      <a:pt x="1914" y="542"/>
                    </a:lnTo>
                    <a:lnTo>
                      <a:pt x="1910" y="517"/>
                    </a:lnTo>
                    <a:lnTo>
                      <a:pt x="1907" y="493"/>
                    </a:lnTo>
                    <a:lnTo>
                      <a:pt x="1903" y="469"/>
                    </a:lnTo>
                    <a:lnTo>
                      <a:pt x="1899" y="445"/>
                    </a:lnTo>
                    <a:lnTo>
                      <a:pt x="1892" y="421"/>
                    </a:lnTo>
                    <a:lnTo>
                      <a:pt x="1887" y="399"/>
                    </a:lnTo>
                    <a:lnTo>
                      <a:pt x="1879" y="377"/>
                    </a:lnTo>
                    <a:lnTo>
                      <a:pt x="1872" y="356"/>
                    </a:lnTo>
                    <a:lnTo>
                      <a:pt x="1863" y="335"/>
                    </a:lnTo>
                    <a:lnTo>
                      <a:pt x="1854" y="315"/>
                    </a:lnTo>
                    <a:lnTo>
                      <a:pt x="1845" y="294"/>
                    </a:lnTo>
                    <a:lnTo>
                      <a:pt x="1834" y="275"/>
                    </a:lnTo>
                    <a:lnTo>
                      <a:pt x="1823" y="256"/>
                    </a:lnTo>
                    <a:lnTo>
                      <a:pt x="1811" y="238"/>
                    </a:lnTo>
                    <a:lnTo>
                      <a:pt x="1798" y="221"/>
                    </a:lnTo>
                    <a:lnTo>
                      <a:pt x="1787" y="208"/>
                    </a:lnTo>
                    <a:lnTo>
                      <a:pt x="1777" y="195"/>
                    </a:lnTo>
                    <a:lnTo>
                      <a:pt x="1765" y="182"/>
                    </a:lnTo>
                    <a:lnTo>
                      <a:pt x="1754" y="170"/>
                    </a:lnTo>
                    <a:lnTo>
                      <a:pt x="1741" y="158"/>
                    </a:lnTo>
                    <a:lnTo>
                      <a:pt x="1729" y="146"/>
                    </a:lnTo>
                    <a:lnTo>
                      <a:pt x="1716" y="135"/>
                    </a:lnTo>
                    <a:lnTo>
                      <a:pt x="1702" y="125"/>
                    </a:lnTo>
                    <a:lnTo>
                      <a:pt x="1688" y="115"/>
                    </a:lnTo>
                    <a:lnTo>
                      <a:pt x="1674" y="105"/>
                    </a:lnTo>
                    <a:lnTo>
                      <a:pt x="1660" y="95"/>
                    </a:lnTo>
                    <a:lnTo>
                      <a:pt x="1645" y="87"/>
                    </a:lnTo>
                    <a:lnTo>
                      <a:pt x="1629" y="78"/>
                    </a:lnTo>
                    <a:lnTo>
                      <a:pt x="1614" y="71"/>
                    </a:lnTo>
                    <a:lnTo>
                      <a:pt x="1596" y="63"/>
                    </a:lnTo>
                    <a:lnTo>
                      <a:pt x="1580" y="55"/>
                    </a:lnTo>
                    <a:lnTo>
                      <a:pt x="1546" y="44"/>
                    </a:lnTo>
                    <a:lnTo>
                      <a:pt x="1510" y="32"/>
                    </a:lnTo>
                    <a:lnTo>
                      <a:pt x="1472" y="22"/>
                    </a:lnTo>
                    <a:lnTo>
                      <a:pt x="1432" y="14"/>
                    </a:lnTo>
                    <a:lnTo>
                      <a:pt x="1391" y="8"/>
                    </a:lnTo>
                    <a:lnTo>
                      <a:pt x="1349" y="4"/>
                    </a:lnTo>
                    <a:lnTo>
                      <a:pt x="1305" y="1"/>
                    </a:lnTo>
                    <a:lnTo>
                      <a:pt x="1260" y="0"/>
                    </a:lnTo>
                    <a:close/>
                    <a:moveTo>
                      <a:pt x="557" y="1677"/>
                    </a:moveTo>
                    <a:lnTo>
                      <a:pt x="549" y="1666"/>
                    </a:lnTo>
                    <a:lnTo>
                      <a:pt x="542" y="1655"/>
                    </a:lnTo>
                    <a:lnTo>
                      <a:pt x="535" y="1643"/>
                    </a:lnTo>
                    <a:lnTo>
                      <a:pt x="530" y="1630"/>
                    </a:lnTo>
                    <a:lnTo>
                      <a:pt x="523" y="1617"/>
                    </a:lnTo>
                    <a:lnTo>
                      <a:pt x="519" y="1603"/>
                    </a:lnTo>
                    <a:lnTo>
                      <a:pt x="515" y="1589"/>
                    </a:lnTo>
                    <a:lnTo>
                      <a:pt x="510" y="1574"/>
                    </a:lnTo>
                    <a:lnTo>
                      <a:pt x="507" y="1559"/>
                    </a:lnTo>
                    <a:lnTo>
                      <a:pt x="504" y="1543"/>
                    </a:lnTo>
                    <a:lnTo>
                      <a:pt x="501" y="1526"/>
                    </a:lnTo>
                    <a:lnTo>
                      <a:pt x="499" y="1508"/>
                    </a:lnTo>
                    <a:lnTo>
                      <a:pt x="496" y="1472"/>
                    </a:lnTo>
                    <a:lnTo>
                      <a:pt x="495" y="1434"/>
                    </a:lnTo>
                    <a:lnTo>
                      <a:pt x="498" y="1393"/>
                    </a:lnTo>
                    <a:lnTo>
                      <a:pt x="501" y="1350"/>
                    </a:lnTo>
                    <a:lnTo>
                      <a:pt x="506" y="1304"/>
                    </a:lnTo>
                    <a:lnTo>
                      <a:pt x="514" y="1257"/>
                    </a:lnTo>
                    <a:lnTo>
                      <a:pt x="522" y="1207"/>
                    </a:lnTo>
                    <a:lnTo>
                      <a:pt x="534" y="1155"/>
                    </a:lnTo>
                    <a:lnTo>
                      <a:pt x="547" y="1101"/>
                    </a:lnTo>
                    <a:lnTo>
                      <a:pt x="562" y="1045"/>
                    </a:lnTo>
                    <a:lnTo>
                      <a:pt x="581" y="984"/>
                    </a:lnTo>
                    <a:lnTo>
                      <a:pt x="601" y="921"/>
                    </a:lnTo>
                    <a:lnTo>
                      <a:pt x="613" y="890"/>
                    </a:lnTo>
                    <a:lnTo>
                      <a:pt x="625" y="859"/>
                    </a:lnTo>
                    <a:lnTo>
                      <a:pt x="637" y="827"/>
                    </a:lnTo>
                    <a:lnTo>
                      <a:pt x="650" y="797"/>
                    </a:lnTo>
                    <a:lnTo>
                      <a:pt x="663" y="766"/>
                    </a:lnTo>
                    <a:lnTo>
                      <a:pt x="677" y="736"/>
                    </a:lnTo>
                    <a:lnTo>
                      <a:pt x="692" y="705"/>
                    </a:lnTo>
                    <a:lnTo>
                      <a:pt x="707" y="676"/>
                    </a:lnTo>
                    <a:lnTo>
                      <a:pt x="723" y="648"/>
                    </a:lnTo>
                    <a:lnTo>
                      <a:pt x="739" y="620"/>
                    </a:lnTo>
                    <a:lnTo>
                      <a:pt x="757" y="593"/>
                    </a:lnTo>
                    <a:lnTo>
                      <a:pt x="775" y="566"/>
                    </a:lnTo>
                    <a:lnTo>
                      <a:pt x="793" y="541"/>
                    </a:lnTo>
                    <a:lnTo>
                      <a:pt x="813" y="516"/>
                    </a:lnTo>
                    <a:lnTo>
                      <a:pt x="832" y="494"/>
                    </a:lnTo>
                    <a:lnTo>
                      <a:pt x="854" y="471"/>
                    </a:lnTo>
                    <a:lnTo>
                      <a:pt x="874" y="451"/>
                    </a:lnTo>
                    <a:lnTo>
                      <a:pt x="897" y="431"/>
                    </a:lnTo>
                    <a:lnTo>
                      <a:pt x="920" y="414"/>
                    </a:lnTo>
                    <a:lnTo>
                      <a:pt x="943" y="398"/>
                    </a:lnTo>
                    <a:lnTo>
                      <a:pt x="968" y="383"/>
                    </a:lnTo>
                    <a:lnTo>
                      <a:pt x="993" y="370"/>
                    </a:lnTo>
                    <a:lnTo>
                      <a:pt x="1019" y="358"/>
                    </a:lnTo>
                    <a:lnTo>
                      <a:pt x="1046" y="349"/>
                    </a:lnTo>
                    <a:lnTo>
                      <a:pt x="1073" y="341"/>
                    </a:lnTo>
                    <a:lnTo>
                      <a:pt x="1102" y="336"/>
                    </a:lnTo>
                    <a:lnTo>
                      <a:pt x="1131" y="333"/>
                    </a:lnTo>
                    <a:lnTo>
                      <a:pt x="1161" y="332"/>
                    </a:lnTo>
                    <a:lnTo>
                      <a:pt x="1178" y="332"/>
                    </a:lnTo>
                    <a:lnTo>
                      <a:pt x="1193" y="333"/>
                    </a:lnTo>
                    <a:lnTo>
                      <a:pt x="1209" y="335"/>
                    </a:lnTo>
                    <a:lnTo>
                      <a:pt x="1223" y="337"/>
                    </a:lnTo>
                    <a:lnTo>
                      <a:pt x="1237" y="340"/>
                    </a:lnTo>
                    <a:lnTo>
                      <a:pt x="1251" y="344"/>
                    </a:lnTo>
                    <a:lnTo>
                      <a:pt x="1265" y="348"/>
                    </a:lnTo>
                    <a:lnTo>
                      <a:pt x="1277" y="353"/>
                    </a:lnTo>
                    <a:lnTo>
                      <a:pt x="1290" y="359"/>
                    </a:lnTo>
                    <a:lnTo>
                      <a:pt x="1301" y="365"/>
                    </a:lnTo>
                    <a:lnTo>
                      <a:pt x="1312" y="373"/>
                    </a:lnTo>
                    <a:lnTo>
                      <a:pt x="1323" y="380"/>
                    </a:lnTo>
                    <a:lnTo>
                      <a:pt x="1333" y="389"/>
                    </a:lnTo>
                    <a:lnTo>
                      <a:pt x="1343" y="399"/>
                    </a:lnTo>
                    <a:lnTo>
                      <a:pt x="1351" y="408"/>
                    </a:lnTo>
                    <a:lnTo>
                      <a:pt x="1360" y="419"/>
                    </a:lnTo>
                    <a:lnTo>
                      <a:pt x="1370" y="432"/>
                    </a:lnTo>
                    <a:lnTo>
                      <a:pt x="1378" y="447"/>
                    </a:lnTo>
                    <a:lnTo>
                      <a:pt x="1386" y="462"/>
                    </a:lnTo>
                    <a:lnTo>
                      <a:pt x="1392" y="478"/>
                    </a:lnTo>
                    <a:lnTo>
                      <a:pt x="1399" y="495"/>
                    </a:lnTo>
                    <a:lnTo>
                      <a:pt x="1404" y="511"/>
                    </a:lnTo>
                    <a:lnTo>
                      <a:pt x="1409" y="529"/>
                    </a:lnTo>
                    <a:lnTo>
                      <a:pt x="1413" y="548"/>
                    </a:lnTo>
                    <a:lnTo>
                      <a:pt x="1416" y="566"/>
                    </a:lnTo>
                    <a:lnTo>
                      <a:pt x="1418" y="585"/>
                    </a:lnTo>
                    <a:lnTo>
                      <a:pt x="1420" y="605"/>
                    </a:lnTo>
                    <a:lnTo>
                      <a:pt x="1421" y="624"/>
                    </a:lnTo>
                    <a:lnTo>
                      <a:pt x="1421" y="666"/>
                    </a:lnTo>
                    <a:lnTo>
                      <a:pt x="1420" y="709"/>
                    </a:lnTo>
                    <a:lnTo>
                      <a:pt x="1417" y="751"/>
                    </a:lnTo>
                    <a:lnTo>
                      <a:pt x="1412" y="795"/>
                    </a:lnTo>
                    <a:lnTo>
                      <a:pt x="1405" y="838"/>
                    </a:lnTo>
                    <a:lnTo>
                      <a:pt x="1397" y="882"/>
                    </a:lnTo>
                    <a:lnTo>
                      <a:pt x="1388" y="926"/>
                    </a:lnTo>
                    <a:lnTo>
                      <a:pt x="1377" y="968"/>
                    </a:lnTo>
                    <a:lnTo>
                      <a:pt x="1368" y="1010"/>
                    </a:lnTo>
                    <a:lnTo>
                      <a:pt x="1356" y="1050"/>
                    </a:lnTo>
                    <a:lnTo>
                      <a:pt x="1344" y="1092"/>
                    </a:lnTo>
                    <a:lnTo>
                      <a:pt x="1330" y="1134"/>
                    </a:lnTo>
                    <a:lnTo>
                      <a:pt x="1317" y="1174"/>
                    </a:lnTo>
                    <a:lnTo>
                      <a:pt x="1303" y="1213"/>
                    </a:lnTo>
                    <a:lnTo>
                      <a:pt x="1289" y="1250"/>
                    </a:lnTo>
                    <a:lnTo>
                      <a:pt x="1274" y="1286"/>
                    </a:lnTo>
                    <a:lnTo>
                      <a:pt x="1258" y="1322"/>
                    </a:lnTo>
                    <a:lnTo>
                      <a:pt x="1242" y="1355"/>
                    </a:lnTo>
                    <a:lnTo>
                      <a:pt x="1226" y="1388"/>
                    </a:lnTo>
                    <a:lnTo>
                      <a:pt x="1210" y="1419"/>
                    </a:lnTo>
                    <a:lnTo>
                      <a:pt x="1193" y="1449"/>
                    </a:lnTo>
                    <a:lnTo>
                      <a:pt x="1175" y="1478"/>
                    </a:lnTo>
                    <a:lnTo>
                      <a:pt x="1157" y="1505"/>
                    </a:lnTo>
                    <a:lnTo>
                      <a:pt x="1139" y="1531"/>
                    </a:lnTo>
                    <a:lnTo>
                      <a:pt x="1120" y="1556"/>
                    </a:lnTo>
                    <a:lnTo>
                      <a:pt x="1102" y="1580"/>
                    </a:lnTo>
                    <a:lnTo>
                      <a:pt x="1083" y="1601"/>
                    </a:lnTo>
                    <a:lnTo>
                      <a:pt x="1063" y="1622"/>
                    </a:lnTo>
                    <a:lnTo>
                      <a:pt x="1043" y="1641"/>
                    </a:lnTo>
                    <a:lnTo>
                      <a:pt x="1022" y="1660"/>
                    </a:lnTo>
                    <a:lnTo>
                      <a:pt x="1002" y="1676"/>
                    </a:lnTo>
                    <a:lnTo>
                      <a:pt x="981" y="1691"/>
                    </a:lnTo>
                    <a:lnTo>
                      <a:pt x="960" y="1705"/>
                    </a:lnTo>
                    <a:lnTo>
                      <a:pt x="938" y="1717"/>
                    </a:lnTo>
                    <a:lnTo>
                      <a:pt x="916" y="1728"/>
                    </a:lnTo>
                    <a:lnTo>
                      <a:pt x="894" y="1737"/>
                    </a:lnTo>
                    <a:lnTo>
                      <a:pt x="871" y="1745"/>
                    </a:lnTo>
                    <a:lnTo>
                      <a:pt x="848" y="1752"/>
                    </a:lnTo>
                    <a:lnTo>
                      <a:pt x="826" y="1757"/>
                    </a:lnTo>
                    <a:lnTo>
                      <a:pt x="802" y="1761"/>
                    </a:lnTo>
                    <a:lnTo>
                      <a:pt x="778" y="1763"/>
                    </a:lnTo>
                    <a:lnTo>
                      <a:pt x="754" y="1764"/>
                    </a:lnTo>
                    <a:lnTo>
                      <a:pt x="738" y="1763"/>
                    </a:lnTo>
                    <a:lnTo>
                      <a:pt x="722" y="1762"/>
                    </a:lnTo>
                    <a:lnTo>
                      <a:pt x="707" y="1761"/>
                    </a:lnTo>
                    <a:lnTo>
                      <a:pt x="693" y="1758"/>
                    </a:lnTo>
                    <a:lnTo>
                      <a:pt x="679" y="1756"/>
                    </a:lnTo>
                    <a:lnTo>
                      <a:pt x="665" y="1751"/>
                    </a:lnTo>
                    <a:lnTo>
                      <a:pt x="652" y="1747"/>
                    </a:lnTo>
                    <a:lnTo>
                      <a:pt x="639" y="1742"/>
                    </a:lnTo>
                    <a:lnTo>
                      <a:pt x="627" y="1736"/>
                    </a:lnTo>
                    <a:lnTo>
                      <a:pt x="615" y="1730"/>
                    </a:lnTo>
                    <a:lnTo>
                      <a:pt x="604" y="1722"/>
                    </a:lnTo>
                    <a:lnTo>
                      <a:pt x="594" y="1715"/>
                    </a:lnTo>
                    <a:lnTo>
                      <a:pt x="584" y="1706"/>
                    </a:lnTo>
                    <a:lnTo>
                      <a:pt x="574" y="1697"/>
                    </a:lnTo>
                    <a:lnTo>
                      <a:pt x="566" y="1688"/>
                    </a:lnTo>
                    <a:lnTo>
                      <a:pt x="557" y="167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33" name="Freeform 108">
                <a:extLst>
                  <a:ext uri="{FF2B5EF4-FFF2-40B4-BE49-F238E27FC236}">
                    <a16:creationId xmlns:a16="http://schemas.microsoft.com/office/drawing/2014/main" id="{131BBC17-6B8E-4610-B3E7-E85C444A81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1022" y="2415512"/>
                <a:ext cx="208069" cy="221076"/>
              </a:xfrm>
              <a:custGeom>
                <a:avLst/>
                <a:gdLst>
                  <a:gd name="T0" fmla="*/ 0 w 1977"/>
                  <a:gd name="T1" fmla="*/ 0 h 2095"/>
                  <a:gd name="T2" fmla="*/ 0 w 1977"/>
                  <a:gd name="T3" fmla="*/ 0 h 2095"/>
                  <a:gd name="T4" fmla="*/ 0 w 1977"/>
                  <a:gd name="T5" fmla="*/ 0 h 2095"/>
                  <a:gd name="T6" fmla="*/ 0 w 1977"/>
                  <a:gd name="T7" fmla="*/ 0 h 2095"/>
                  <a:gd name="T8" fmla="*/ 0 w 1977"/>
                  <a:gd name="T9" fmla="*/ 0 h 2095"/>
                  <a:gd name="T10" fmla="*/ 0 w 1977"/>
                  <a:gd name="T11" fmla="*/ 0 h 2095"/>
                  <a:gd name="T12" fmla="*/ 0 w 1977"/>
                  <a:gd name="T13" fmla="*/ 0 h 2095"/>
                  <a:gd name="T14" fmla="*/ 0 w 1977"/>
                  <a:gd name="T15" fmla="*/ 0 h 2095"/>
                  <a:gd name="T16" fmla="*/ 0 w 1977"/>
                  <a:gd name="T17" fmla="*/ 0 h 2095"/>
                  <a:gd name="T18" fmla="*/ 0 w 1977"/>
                  <a:gd name="T19" fmla="*/ 0 h 2095"/>
                  <a:gd name="T20" fmla="*/ 0 w 1977"/>
                  <a:gd name="T21" fmla="*/ 0 h 2095"/>
                  <a:gd name="T22" fmla="*/ 0 w 1977"/>
                  <a:gd name="T23" fmla="*/ 0 h 2095"/>
                  <a:gd name="T24" fmla="*/ 0 w 1977"/>
                  <a:gd name="T25" fmla="*/ 0 h 2095"/>
                  <a:gd name="T26" fmla="*/ 0 w 1977"/>
                  <a:gd name="T27" fmla="*/ 0 h 2095"/>
                  <a:gd name="T28" fmla="*/ 0 w 1977"/>
                  <a:gd name="T29" fmla="*/ 0 h 2095"/>
                  <a:gd name="T30" fmla="*/ 0 w 1977"/>
                  <a:gd name="T31" fmla="*/ 0 h 2095"/>
                  <a:gd name="T32" fmla="*/ 0 w 1977"/>
                  <a:gd name="T33" fmla="*/ 0 h 2095"/>
                  <a:gd name="T34" fmla="*/ 0 w 1977"/>
                  <a:gd name="T35" fmla="*/ 0 h 2095"/>
                  <a:gd name="T36" fmla="*/ 0 w 1977"/>
                  <a:gd name="T37" fmla="*/ 0 h 2095"/>
                  <a:gd name="T38" fmla="*/ 0 w 1977"/>
                  <a:gd name="T39" fmla="*/ 0 h 2095"/>
                  <a:gd name="T40" fmla="*/ 0 w 1977"/>
                  <a:gd name="T41" fmla="*/ 0 h 2095"/>
                  <a:gd name="T42" fmla="*/ 0 w 1977"/>
                  <a:gd name="T43" fmla="*/ 0 h 2095"/>
                  <a:gd name="T44" fmla="*/ 0 w 1977"/>
                  <a:gd name="T45" fmla="*/ 0 h 2095"/>
                  <a:gd name="T46" fmla="*/ 0 w 1977"/>
                  <a:gd name="T47" fmla="*/ 0 h 2095"/>
                  <a:gd name="T48" fmla="*/ 0 w 1977"/>
                  <a:gd name="T49" fmla="*/ 0 h 2095"/>
                  <a:gd name="T50" fmla="*/ 0 w 1977"/>
                  <a:gd name="T51" fmla="*/ 0 h 2095"/>
                  <a:gd name="T52" fmla="*/ 0 w 1977"/>
                  <a:gd name="T53" fmla="*/ 0 h 2095"/>
                  <a:gd name="T54" fmla="*/ 0 w 1977"/>
                  <a:gd name="T55" fmla="*/ 0 h 2095"/>
                  <a:gd name="T56" fmla="*/ 0 w 1977"/>
                  <a:gd name="T57" fmla="*/ 0 h 2095"/>
                  <a:gd name="T58" fmla="*/ 0 w 1977"/>
                  <a:gd name="T59" fmla="*/ 0 h 2095"/>
                  <a:gd name="T60" fmla="*/ 0 w 1977"/>
                  <a:gd name="T61" fmla="*/ 0 h 2095"/>
                  <a:gd name="T62" fmla="*/ 0 w 1977"/>
                  <a:gd name="T63" fmla="*/ 0 h 2095"/>
                  <a:gd name="T64" fmla="*/ 0 w 1977"/>
                  <a:gd name="T65" fmla="*/ 0 h 2095"/>
                  <a:gd name="T66" fmla="*/ 0 w 1977"/>
                  <a:gd name="T67" fmla="*/ 0 h 2095"/>
                  <a:gd name="T68" fmla="*/ 0 w 1977"/>
                  <a:gd name="T69" fmla="*/ 0 h 2095"/>
                  <a:gd name="T70" fmla="*/ 0 w 1977"/>
                  <a:gd name="T71" fmla="*/ 0 h 2095"/>
                  <a:gd name="T72" fmla="*/ 0 w 1977"/>
                  <a:gd name="T73" fmla="*/ 0 h 2095"/>
                  <a:gd name="T74" fmla="*/ 0 w 1977"/>
                  <a:gd name="T75" fmla="*/ 0 h 2095"/>
                  <a:gd name="T76" fmla="*/ 0 w 1977"/>
                  <a:gd name="T77" fmla="*/ 0 h 2095"/>
                  <a:gd name="T78" fmla="*/ 0 w 1977"/>
                  <a:gd name="T79" fmla="*/ 0 h 2095"/>
                  <a:gd name="T80" fmla="*/ 0 w 1977"/>
                  <a:gd name="T81" fmla="*/ 0 h 2095"/>
                  <a:gd name="T82" fmla="*/ 0 w 1977"/>
                  <a:gd name="T83" fmla="*/ 0 h 2095"/>
                  <a:gd name="T84" fmla="*/ 0 w 1977"/>
                  <a:gd name="T85" fmla="*/ 0 h 2095"/>
                  <a:gd name="T86" fmla="*/ 0 w 1977"/>
                  <a:gd name="T87" fmla="*/ 0 h 2095"/>
                  <a:gd name="T88" fmla="*/ 0 w 1977"/>
                  <a:gd name="T89" fmla="*/ 0 h 2095"/>
                  <a:gd name="T90" fmla="*/ 0 w 1977"/>
                  <a:gd name="T91" fmla="*/ 0 h 2095"/>
                  <a:gd name="T92" fmla="*/ 0 w 1977"/>
                  <a:gd name="T93" fmla="*/ 0 h 2095"/>
                  <a:gd name="T94" fmla="*/ 0 w 1977"/>
                  <a:gd name="T95" fmla="*/ 0 h 2095"/>
                  <a:gd name="T96" fmla="*/ 0 w 1977"/>
                  <a:gd name="T97" fmla="*/ 0 h 2095"/>
                  <a:gd name="T98" fmla="*/ 0 w 1977"/>
                  <a:gd name="T99" fmla="*/ 0 h 2095"/>
                  <a:gd name="T100" fmla="*/ 0 w 1977"/>
                  <a:gd name="T101" fmla="*/ 0 h 2095"/>
                  <a:gd name="T102" fmla="*/ 0 w 1977"/>
                  <a:gd name="T103" fmla="*/ 0 h 209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977" h="2095">
                    <a:moveTo>
                      <a:pt x="62" y="1038"/>
                    </a:moveTo>
                    <a:lnTo>
                      <a:pt x="53" y="1070"/>
                    </a:lnTo>
                    <a:lnTo>
                      <a:pt x="45" y="1101"/>
                    </a:lnTo>
                    <a:lnTo>
                      <a:pt x="37" y="1133"/>
                    </a:lnTo>
                    <a:lnTo>
                      <a:pt x="31" y="1163"/>
                    </a:lnTo>
                    <a:lnTo>
                      <a:pt x="24" y="1193"/>
                    </a:lnTo>
                    <a:lnTo>
                      <a:pt x="19" y="1223"/>
                    </a:lnTo>
                    <a:lnTo>
                      <a:pt x="14" y="1253"/>
                    </a:lnTo>
                    <a:lnTo>
                      <a:pt x="10" y="1282"/>
                    </a:lnTo>
                    <a:lnTo>
                      <a:pt x="7" y="1310"/>
                    </a:lnTo>
                    <a:lnTo>
                      <a:pt x="5" y="1338"/>
                    </a:lnTo>
                    <a:lnTo>
                      <a:pt x="3" y="1366"/>
                    </a:lnTo>
                    <a:lnTo>
                      <a:pt x="1" y="1393"/>
                    </a:lnTo>
                    <a:lnTo>
                      <a:pt x="0" y="1419"/>
                    </a:lnTo>
                    <a:lnTo>
                      <a:pt x="0" y="1446"/>
                    </a:lnTo>
                    <a:lnTo>
                      <a:pt x="1" y="1471"/>
                    </a:lnTo>
                    <a:lnTo>
                      <a:pt x="3" y="1497"/>
                    </a:lnTo>
                    <a:lnTo>
                      <a:pt x="5" y="1520"/>
                    </a:lnTo>
                    <a:lnTo>
                      <a:pt x="8" y="1545"/>
                    </a:lnTo>
                    <a:lnTo>
                      <a:pt x="11" y="1569"/>
                    </a:lnTo>
                    <a:lnTo>
                      <a:pt x="15" y="1592"/>
                    </a:lnTo>
                    <a:lnTo>
                      <a:pt x="21" y="1614"/>
                    </a:lnTo>
                    <a:lnTo>
                      <a:pt x="26" y="1637"/>
                    </a:lnTo>
                    <a:lnTo>
                      <a:pt x="33" y="1658"/>
                    </a:lnTo>
                    <a:lnTo>
                      <a:pt x="39" y="1680"/>
                    </a:lnTo>
                    <a:lnTo>
                      <a:pt x="47" y="1701"/>
                    </a:lnTo>
                    <a:lnTo>
                      <a:pt x="55" y="1721"/>
                    </a:lnTo>
                    <a:lnTo>
                      <a:pt x="65" y="1741"/>
                    </a:lnTo>
                    <a:lnTo>
                      <a:pt x="75" y="1760"/>
                    </a:lnTo>
                    <a:lnTo>
                      <a:pt x="85" y="1779"/>
                    </a:lnTo>
                    <a:lnTo>
                      <a:pt x="96" y="1798"/>
                    </a:lnTo>
                    <a:lnTo>
                      <a:pt x="108" y="1815"/>
                    </a:lnTo>
                    <a:lnTo>
                      <a:pt x="120" y="1833"/>
                    </a:lnTo>
                    <a:lnTo>
                      <a:pt x="137" y="1854"/>
                    </a:lnTo>
                    <a:lnTo>
                      <a:pt x="155" y="1873"/>
                    </a:lnTo>
                    <a:lnTo>
                      <a:pt x="172" y="1892"/>
                    </a:lnTo>
                    <a:lnTo>
                      <a:pt x="190" y="1909"/>
                    </a:lnTo>
                    <a:lnTo>
                      <a:pt x="210" y="1926"/>
                    </a:lnTo>
                    <a:lnTo>
                      <a:pt x="229" y="1941"/>
                    </a:lnTo>
                    <a:lnTo>
                      <a:pt x="250" y="1956"/>
                    </a:lnTo>
                    <a:lnTo>
                      <a:pt x="270" y="1969"/>
                    </a:lnTo>
                    <a:lnTo>
                      <a:pt x="291" y="1982"/>
                    </a:lnTo>
                    <a:lnTo>
                      <a:pt x="312" y="1994"/>
                    </a:lnTo>
                    <a:lnTo>
                      <a:pt x="333" y="2005"/>
                    </a:lnTo>
                    <a:lnTo>
                      <a:pt x="355" y="2016"/>
                    </a:lnTo>
                    <a:lnTo>
                      <a:pt x="377" y="2026"/>
                    </a:lnTo>
                    <a:lnTo>
                      <a:pt x="399" y="2034"/>
                    </a:lnTo>
                    <a:lnTo>
                      <a:pt x="421" y="2042"/>
                    </a:lnTo>
                    <a:lnTo>
                      <a:pt x="443" y="2049"/>
                    </a:lnTo>
                    <a:lnTo>
                      <a:pt x="466" y="2056"/>
                    </a:lnTo>
                    <a:lnTo>
                      <a:pt x="487" y="2061"/>
                    </a:lnTo>
                    <a:lnTo>
                      <a:pt x="509" y="2067"/>
                    </a:lnTo>
                    <a:lnTo>
                      <a:pt x="531" y="2072"/>
                    </a:lnTo>
                    <a:lnTo>
                      <a:pt x="574" y="2079"/>
                    </a:lnTo>
                    <a:lnTo>
                      <a:pt x="616" y="2086"/>
                    </a:lnTo>
                    <a:lnTo>
                      <a:pt x="656" y="2090"/>
                    </a:lnTo>
                    <a:lnTo>
                      <a:pt x="693" y="2092"/>
                    </a:lnTo>
                    <a:lnTo>
                      <a:pt x="729" y="2094"/>
                    </a:lnTo>
                    <a:lnTo>
                      <a:pt x="761" y="2095"/>
                    </a:lnTo>
                    <a:lnTo>
                      <a:pt x="823" y="2094"/>
                    </a:lnTo>
                    <a:lnTo>
                      <a:pt x="883" y="2091"/>
                    </a:lnTo>
                    <a:lnTo>
                      <a:pt x="942" y="2089"/>
                    </a:lnTo>
                    <a:lnTo>
                      <a:pt x="998" y="2085"/>
                    </a:lnTo>
                    <a:lnTo>
                      <a:pt x="1052" y="2079"/>
                    </a:lnTo>
                    <a:lnTo>
                      <a:pt x="1105" y="2074"/>
                    </a:lnTo>
                    <a:lnTo>
                      <a:pt x="1154" y="2068"/>
                    </a:lnTo>
                    <a:lnTo>
                      <a:pt x="1202" y="2060"/>
                    </a:lnTo>
                    <a:lnTo>
                      <a:pt x="1247" y="2051"/>
                    </a:lnTo>
                    <a:lnTo>
                      <a:pt x="1290" y="2044"/>
                    </a:lnTo>
                    <a:lnTo>
                      <a:pt x="1330" y="2034"/>
                    </a:lnTo>
                    <a:lnTo>
                      <a:pt x="1367" y="2026"/>
                    </a:lnTo>
                    <a:lnTo>
                      <a:pt x="1402" y="2016"/>
                    </a:lnTo>
                    <a:lnTo>
                      <a:pt x="1434" y="2007"/>
                    </a:lnTo>
                    <a:lnTo>
                      <a:pt x="1462" y="1997"/>
                    </a:lnTo>
                    <a:lnTo>
                      <a:pt x="1488" y="1988"/>
                    </a:lnTo>
                    <a:lnTo>
                      <a:pt x="1492" y="1975"/>
                    </a:lnTo>
                    <a:lnTo>
                      <a:pt x="1502" y="1940"/>
                    </a:lnTo>
                    <a:lnTo>
                      <a:pt x="1517" y="1887"/>
                    </a:lnTo>
                    <a:lnTo>
                      <a:pt x="1536" y="1818"/>
                    </a:lnTo>
                    <a:lnTo>
                      <a:pt x="1560" y="1737"/>
                    </a:lnTo>
                    <a:lnTo>
                      <a:pt x="1586" y="1647"/>
                    </a:lnTo>
                    <a:lnTo>
                      <a:pt x="1613" y="1551"/>
                    </a:lnTo>
                    <a:lnTo>
                      <a:pt x="1642" y="1451"/>
                    </a:lnTo>
                    <a:lnTo>
                      <a:pt x="1670" y="1351"/>
                    </a:lnTo>
                    <a:lnTo>
                      <a:pt x="1698" y="1254"/>
                    </a:lnTo>
                    <a:lnTo>
                      <a:pt x="1724" y="1163"/>
                    </a:lnTo>
                    <a:lnTo>
                      <a:pt x="1748" y="1081"/>
                    </a:lnTo>
                    <a:lnTo>
                      <a:pt x="1768" y="1011"/>
                    </a:lnTo>
                    <a:lnTo>
                      <a:pt x="1783" y="957"/>
                    </a:lnTo>
                    <a:lnTo>
                      <a:pt x="1794" y="920"/>
                    </a:lnTo>
                    <a:lnTo>
                      <a:pt x="1799" y="906"/>
                    </a:lnTo>
                    <a:lnTo>
                      <a:pt x="1762" y="906"/>
                    </a:lnTo>
                    <a:lnTo>
                      <a:pt x="1678" y="906"/>
                    </a:lnTo>
                    <a:lnTo>
                      <a:pt x="1561" y="906"/>
                    </a:lnTo>
                    <a:lnTo>
                      <a:pt x="1429" y="906"/>
                    </a:lnTo>
                    <a:lnTo>
                      <a:pt x="1297" y="906"/>
                    </a:lnTo>
                    <a:lnTo>
                      <a:pt x="1182" y="906"/>
                    </a:lnTo>
                    <a:lnTo>
                      <a:pt x="1099" y="906"/>
                    </a:lnTo>
                    <a:lnTo>
                      <a:pt x="1066" y="906"/>
                    </a:lnTo>
                    <a:lnTo>
                      <a:pt x="1061" y="922"/>
                    </a:lnTo>
                    <a:lnTo>
                      <a:pt x="1051" y="959"/>
                    </a:lnTo>
                    <a:lnTo>
                      <a:pt x="1035" y="1010"/>
                    </a:lnTo>
                    <a:lnTo>
                      <a:pt x="1019" y="1068"/>
                    </a:lnTo>
                    <a:lnTo>
                      <a:pt x="1002" y="1127"/>
                    </a:lnTo>
                    <a:lnTo>
                      <a:pt x="987" y="1179"/>
                    </a:lnTo>
                    <a:lnTo>
                      <a:pt x="976" y="1218"/>
                    </a:lnTo>
                    <a:lnTo>
                      <a:pt x="971" y="1236"/>
                    </a:lnTo>
                    <a:lnTo>
                      <a:pt x="987" y="1236"/>
                    </a:lnTo>
                    <a:lnTo>
                      <a:pt x="1020" y="1236"/>
                    </a:lnTo>
                    <a:lnTo>
                      <a:pt x="1064" y="1236"/>
                    </a:lnTo>
                    <a:lnTo>
                      <a:pt x="1112" y="1236"/>
                    </a:lnTo>
                    <a:lnTo>
                      <a:pt x="1160" y="1236"/>
                    </a:lnTo>
                    <a:lnTo>
                      <a:pt x="1202" y="1236"/>
                    </a:lnTo>
                    <a:lnTo>
                      <a:pt x="1230" y="1236"/>
                    </a:lnTo>
                    <a:lnTo>
                      <a:pt x="1241" y="1236"/>
                    </a:lnTo>
                    <a:lnTo>
                      <a:pt x="1244" y="1237"/>
                    </a:lnTo>
                    <a:lnTo>
                      <a:pt x="1247" y="1239"/>
                    </a:lnTo>
                    <a:lnTo>
                      <a:pt x="1248" y="1242"/>
                    </a:lnTo>
                    <a:lnTo>
                      <a:pt x="1248" y="1245"/>
                    </a:lnTo>
                    <a:lnTo>
                      <a:pt x="1115" y="1706"/>
                    </a:lnTo>
                    <a:lnTo>
                      <a:pt x="1114" y="1709"/>
                    </a:lnTo>
                    <a:lnTo>
                      <a:pt x="1111" y="1710"/>
                    </a:lnTo>
                    <a:lnTo>
                      <a:pt x="1093" y="1718"/>
                    </a:lnTo>
                    <a:lnTo>
                      <a:pt x="1073" y="1723"/>
                    </a:lnTo>
                    <a:lnTo>
                      <a:pt x="1053" y="1729"/>
                    </a:lnTo>
                    <a:lnTo>
                      <a:pt x="1030" y="1733"/>
                    </a:lnTo>
                    <a:lnTo>
                      <a:pt x="1006" y="1736"/>
                    </a:lnTo>
                    <a:lnTo>
                      <a:pt x="982" y="1738"/>
                    </a:lnTo>
                    <a:lnTo>
                      <a:pt x="956" y="1741"/>
                    </a:lnTo>
                    <a:lnTo>
                      <a:pt x="928" y="1741"/>
                    </a:lnTo>
                    <a:lnTo>
                      <a:pt x="899" y="1739"/>
                    </a:lnTo>
                    <a:lnTo>
                      <a:pt x="871" y="1738"/>
                    </a:lnTo>
                    <a:lnTo>
                      <a:pt x="846" y="1735"/>
                    </a:lnTo>
                    <a:lnTo>
                      <a:pt x="820" y="1732"/>
                    </a:lnTo>
                    <a:lnTo>
                      <a:pt x="796" y="1726"/>
                    </a:lnTo>
                    <a:lnTo>
                      <a:pt x="772" y="1720"/>
                    </a:lnTo>
                    <a:lnTo>
                      <a:pt x="749" y="1714"/>
                    </a:lnTo>
                    <a:lnTo>
                      <a:pt x="728" y="1705"/>
                    </a:lnTo>
                    <a:lnTo>
                      <a:pt x="707" y="1695"/>
                    </a:lnTo>
                    <a:lnTo>
                      <a:pt x="687" y="1685"/>
                    </a:lnTo>
                    <a:lnTo>
                      <a:pt x="669" y="1674"/>
                    </a:lnTo>
                    <a:lnTo>
                      <a:pt x="651" y="1661"/>
                    </a:lnTo>
                    <a:lnTo>
                      <a:pt x="634" y="1647"/>
                    </a:lnTo>
                    <a:lnTo>
                      <a:pt x="619" y="1633"/>
                    </a:lnTo>
                    <a:lnTo>
                      <a:pt x="604" y="1616"/>
                    </a:lnTo>
                    <a:lnTo>
                      <a:pt x="590" y="1599"/>
                    </a:lnTo>
                    <a:lnTo>
                      <a:pt x="582" y="1588"/>
                    </a:lnTo>
                    <a:lnTo>
                      <a:pt x="574" y="1576"/>
                    </a:lnTo>
                    <a:lnTo>
                      <a:pt x="567" y="1563"/>
                    </a:lnTo>
                    <a:lnTo>
                      <a:pt x="559" y="1552"/>
                    </a:lnTo>
                    <a:lnTo>
                      <a:pt x="553" y="1538"/>
                    </a:lnTo>
                    <a:lnTo>
                      <a:pt x="548" y="1525"/>
                    </a:lnTo>
                    <a:lnTo>
                      <a:pt x="542" y="1511"/>
                    </a:lnTo>
                    <a:lnTo>
                      <a:pt x="537" y="1497"/>
                    </a:lnTo>
                    <a:lnTo>
                      <a:pt x="528" y="1466"/>
                    </a:lnTo>
                    <a:lnTo>
                      <a:pt x="521" y="1435"/>
                    </a:lnTo>
                    <a:lnTo>
                      <a:pt x="516" y="1403"/>
                    </a:lnTo>
                    <a:lnTo>
                      <a:pt x="513" y="1369"/>
                    </a:lnTo>
                    <a:lnTo>
                      <a:pt x="511" y="1334"/>
                    </a:lnTo>
                    <a:lnTo>
                      <a:pt x="512" y="1297"/>
                    </a:lnTo>
                    <a:lnTo>
                      <a:pt x="514" y="1259"/>
                    </a:lnTo>
                    <a:lnTo>
                      <a:pt x="518" y="1220"/>
                    </a:lnTo>
                    <a:lnTo>
                      <a:pt x="524" y="1180"/>
                    </a:lnTo>
                    <a:lnTo>
                      <a:pt x="533" y="1139"/>
                    </a:lnTo>
                    <a:lnTo>
                      <a:pt x="542" y="1097"/>
                    </a:lnTo>
                    <a:lnTo>
                      <a:pt x="553" y="1054"/>
                    </a:lnTo>
                    <a:lnTo>
                      <a:pt x="559" y="1035"/>
                    </a:lnTo>
                    <a:lnTo>
                      <a:pt x="569" y="1003"/>
                    </a:lnTo>
                    <a:lnTo>
                      <a:pt x="585" y="963"/>
                    </a:lnTo>
                    <a:lnTo>
                      <a:pt x="606" y="915"/>
                    </a:lnTo>
                    <a:lnTo>
                      <a:pt x="618" y="889"/>
                    </a:lnTo>
                    <a:lnTo>
                      <a:pt x="632" y="861"/>
                    </a:lnTo>
                    <a:lnTo>
                      <a:pt x="647" y="832"/>
                    </a:lnTo>
                    <a:lnTo>
                      <a:pt x="664" y="801"/>
                    </a:lnTo>
                    <a:lnTo>
                      <a:pt x="683" y="771"/>
                    </a:lnTo>
                    <a:lnTo>
                      <a:pt x="702" y="740"/>
                    </a:lnTo>
                    <a:lnTo>
                      <a:pt x="724" y="709"/>
                    </a:lnTo>
                    <a:lnTo>
                      <a:pt x="747" y="677"/>
                    </a:lnTo>
                    <a:lnTo>
                      <a:pt x="772" y="647"/>
                    </a:lnTo>
                    <a:lnTo>
                      <a:pt x="799" y="616"/>
                    </a:lnTo>
                    <a:lnTo>
                      <a:pt x="828" y="587"/>
                    </a:lnTo>
                    <a:lnTo>
                      <a:pt x="858" y="557"/>
                    </a:lnTo>
                    <a:lnTo>
                      <a:pt x="891" y="529"/>
                    </a:lnTo>
                    <a:lnTo>
                      <a:pt x="925" y="502"/>
                    </a:lnTo>
                    <a:lnTo>
                      <a:pt x="962" y="478"/>
                    </a:lnTo>
                    <a:lnTo>
                      <a:pt x="1000" y="454"/>
                    </a:lnTo>
                    <a:lnTo>
                      <a:pt x="1041" y="432"/>
                    </a:lnTo>
                    <a:lnTo>
                      <a:pt x="1084" y="413"/>
                    </a:lnTo>
                    <a:lnTo>
                      <a:pt x="1128" y="397"/>
                    </a:lnTo>
                    <a:lnTo>
                      <a:pt x="1176" y="381"/>
                    </a:lnTo>
                    <a:lnTo>
                      <a:pt x="1225" y="371"/>
                    </a:lnTo>
                    <a:lnTo>
                      <a:pt x="1277" y="362"/>
                    </a:lnTo>
                    <a:lnTo>
                      <a:pt x="1331" y="357"/>
                    </a:lnTo>
                    <a:lnTo>
                      <a:pt x="1387" y="354"/>
                    </a:lnTo>
                    <a:lnTo>
                      <a:pt x="1428" y="356"/>
                    </a:lnTo>
                    <a:lnTo>
                      <a:pt x="1467" y="358"/>
                    </a:lnTo>
                    <a:lnTo>
                      <a:pt x="1505" y="362"/>
                    </a:lnTo>
                    <a:lnTo>
                      <a:pt x="1541" y="366"/>
                    </a:lnTo>
                    <a:lnTo>
                      <a:pt x="1574" y="373"/>
                    </a:lnTo>
                    <a:lnTo>
                      <a:pt x="1606" y="379"/>
                    </a:lnTo>
                    <a:lnTo>
                      <a:pt x="1637" y="387"/>
                    </a:lnTo>
                    <a:lnTo>
                      <a:pt x="1666" y="395"/>
                    </a:lnTo>
                    <a:lnTo>
                      <a:pt x="1693" y="404"/>
                    </a:lnTo>
                    <a:lnTo>
                      <a:pt x="1718" y="413"/>
                    </a:lnTo>
                    <a:lnTo>
                      <a:pt x="1741" y="422"/>
                    </a:lnTo>
                    <a:lnTo>
                      <a:pt x="1764" y="431"/>
                    </a:lnTo>
                    <a:lnTo>
                      <a:pt x="1803" y="449"/>
                    </a:lnTo>
                    <a:lnTo>
                      <a:pt x="1836" y="466"/>
                    </a:lnTo>
                    <a:lnTo>
                      <a:pt x="1844" y="446"/>
                    </a:lnTo>
                    <a:lnTo>
                      <a:pt x="1860" y="402"/>
                    </a:lnTo>
                    <a:lnTo>
                      <a:pt x="1882" y="341"/>
                    </a:lnTo>
                    <a:lnTo>
                      <a:pt x="1907" y="272"/>
                    </a:lnTo>
                    <a:lnTo>
                      <a:pt x="1931" y="204"/>
                    </a:lnTo>
                    <a:lnTo>
                      <a:pt x="1953" y="144"/>
                    </a:lnTo>
                    <a:lnTo>
                      <a:pt x="1969" y="100"/>
                    </a:lnTo>
                    <a:lnTo>
                      <a:pt x="1977" y="80"/>
                    </a:lnTo>
                    <a:lnTo>
                      <a:pt x="1935" y="68"/>
                    </a:lnTo>
                    <a:lnTo>
                      <a:pt x="1887" y="54"/>
                    </a:lnTo>
                    <a:lnTo>
                      <a:pt x="1832" y="41"/>
                    </a:lnTo>
                    <a:lnTo>
                      <a:pt x="1771" y="28"/>
                    </a:lnTo>
                    <a:lnTo>
                      <a:pt x="1738" y="23"/>
                    </a:lnTo>
                    <a:lnTo>
                      <a:pt x="1703" y="18"/>
                    </a:lnTo>
                    <a:lnTo>
                      <a:pt x="1666" y="13"/>
                    </a:lnTo>
                    <a:lnTo>
                      <a:pt x="1627" y="9"/>
                    </a:lnTo>
                    <a:lnTo>
                      <a:pt x="1587" y="6"/>
                    </a:lnTo>
                    <a:lnTo>
                      <a:pt x="1544" y="3"/>
                    </a:lnTo>
                    <a:lnTo>
                      <a:pt x="1500" y="1"/>
                    </a:lnTo>
                    <a:lnTo>
                      <a:pt x="1453" y="0"/>
                    </a:lnTo>
                    <a:lnTo>
                      <a:pt x="1379" y="3"/>
                    </a:lnTo>
                    <a:lnTo>
                      <a:pt x="1306" y="7"/>
                    </a:lnTo>
                    <a:lnTo>
                      <a:pt x="1236" y="14"/>
                    </a:lnTo>
                    <a:lnTo>
                      <a:pt x="1168" y="24"/>
                    </a:lnTo>
                    <a:lnTo>
                      <a:pt x="1102" y="38"/>
                    </a:lnTo>
                    <a:lnTo>
                      <a:pt x="1038" y="53"/>
                    </a:lnTo>
                    <a:lnTo>
                      <a:pt x="976" y="72"/>
                    </a:lnTo>
                    <a:lnTo>
                      <a:pt x="916" y="92"/>
                    </a:lnTo>
                    <a:lnTo>
                      <a:pt x="858" y="115"/>
                    </a:lnTo>
                    <a:lnTo>
                      <a:pt x="802" y="141"/>
                    </a:lnTo>
                    <a:lnTo>
                      <a:pt x="748" y="168"/>
                    </a:lnTo>
                    <a:lnTo>
                      <a:pt x="697" y="197"/>
                    </a:lnTo>
                    <a:lnTo>
                      <a:pt x="647" y="228"/>
                    </a:lnTo>
                    <a:lnTo>
                      <a:pt x="599" y="261"/>
                    </a:lnTo>
                    <a:lnTo>
                      <a:pt x="553" y="295"/>
                    </a:lnTo>
                    <a:lnTo>
                      <a:pt x="510" y="331"/>
                    </a:lnTo>
                    <a:lnTo>
                      <a:pt x="468" y="368"/>
                    </a:lnTo>
                    <a:lnTo>
                      <a:pt x="428" y="407"/>
                    </a:lnTo>
                    <a:lnTo>
                      <a:pt x="389" y="448"/>
                    </a:lnTo>
                    <a:lnTo>
                      <a:pt x="353" y="489"/>
                    </a:lnTo>
                    <a:lnTo>
                      <a:pt x="319" y="531"/>
                    </a:lnTo>
                    <a:lnTo>
                      <a:pt x="286" y="575"/>
                    </a:lnTo>
                    <a:lnTo>
                      <a:pt x="255" y="619"/>
                    </a:lnTo>
                    <a:lnTo>
                      <a:pt x="227" y="664"/>
                    </a:lnTo>
                    <a:lnTo>
                      <a:pt x="200" y="710"/>
                    </a:lnTo>
                    <a:lnTo>
                      <a:pt x="175" y="756"/>
                    </a:lnTo>
                    <a:lnTo>
                      <a:pt x="151" y="802"/>
                    </a:lnTo>
                    <a:lnTo>
                      <a:pt x="130" y="849"/>
                    </a:lnTo>
                    <a:lnTo>
                      <a:pt x="110" y="896"/>
                    </a:lnTo>
                    <a:lnTo>
                      <a:pt x="93" y="944"/>
                    </a:lnTo>
                    <a:lnTo>
                      <a:pt x="77" y="990"/>
                    </a:lnTo>
                    <a:lnTo>
                      <a:pt x="62" y="103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34" name="Freeform 109">
                <a:extLst>
                  <a:ext uri="{FF2B5EF4-FFF2-40B4-BE49-F238E27FC236}">
                    <a16:creationId xmlns:a16="http://schemas.microsoft.com/office/drawing/2014/main" id="{2E9BA9B0-BBAC-44FD-8E32-F51D9D11001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34372" y="2419743"/>
                <a:ext cx="197507" cy="213671"/>
              </a:xfrm>
              <a:custGeom>
                <a:avLst/>
                <a:gdLst>
                  <a:gd name="T0" fmla="*/ 0 w 1866"/>
                  <a:gd name="T1" fmla="*/ 0 h 2023"/>
                  <a:gd name="T2" fmla="*/ 0 w 1866"/>
                  <a:gd name="T3" fmla="*/ 0 h 2023"/>
                  <a:gd name="T4" fmla="*/ 0 w 1866"/>
                  <a:gd name="T5" fmla="*/ 0 h 2023"/>
                  <a:gd name="T6" fmla="*/ 0 w 1866"/>
                  <a:gd name="T7" fmla="*/ 0 h 2023"/>
                  <a:gd name="T8" fmla="*/ 0 w 1866"/>
                  <a:gd name="T9" fmla="*/ 0 h 2023"/>
                  <a:gd name="T10" fmla="*/ 0 w 1866"/>
                  <a:gd name="T11" fmla="*/ 0 h 2023"/>
                  <a:gd name="T12" fmla="*/ 0 w 1866"/>
                  <a:gd name="T13" fmla="*/ 0 h 2023"/>
                  <a:gd name="T14" fmla="*/ 0 w 1866"/>
                  <a:gd name="T15" fmla="*/ 0 h 2023"/>
                  <a:gd name="T16" fmla="*/ 0 w 1866"/>
                  <a:gd name="T17" fmla="*/ 0 h 2023"/>
                  <a:gd name="T18" fmla="*/ 0 w 1866"/>
                  <a:gd name="T19" fmla="*/ 0 h 2023"/>
                  <a:gd name="T20" fmla="*/ 0 w 1866"/>
                  <a:gd name="T21" fmla="*/ 0 h 2023"/>
                  <a:gd name="T22" fmla="*/ 0 w 1866"/>
                  <a:gd name="T23" fmla="*/ 0 h 2023"/>
                  <a:gd name="T24" fmla="*/ 0 w 1866"/>
                  <a:gd name="T25" fmla="*/ 0 h 2023"/>
                  <a:gd name="T26" fmla="*/ 0 w 1866"/>
                  <a:gd name="T27" fmla="*/ 0 h 2023"/>
                  <a:gd name="T28" fmla="*/ 0 w 1866"/>
                  <a:gd name="T29" fmla="*/ 0 h 2023"/>
                  <a:gd name="T30" fmla="*/ 0 w 1866"/>
                  <a:gd name="T31" fmla="*/ 0 h 2023"/>
                  <a:gd name="T32" fmla="*/ 0 w 1866"/>
                  <a:gd name="T33" fmla="*/ 0 h 2023"/>
                  <a:gd name="T34" fmla="*/ 0 w 1866"/>
                  <a:gd name="T35" fmla="*/ 0 h 2023"/>
                  <a:gd name="T36" fmla="*/ 0 w 1866"/>
                  <a:gd name="T37" fmla="*/ 0 h 2023"/>
                  <a:gd name="T38" fmla="*/ 0 w 1866"/>
                  <a:gd name="T39" fmla="*/ 0 h 2023"/>
                  <a:gd name="T40" fmla="*/ 0 w 1866"/>
                  <a:gd name="T41" fmla="*/ 0 h 2023"/>
                  <a:gd name="T42" fmla="*/ 0 w 1866"/>
                  <a:gd name="T43" fmla="*/ 0 h 2023"/>
                  <a:gd name="T44" fmla="*/ 0 w 1866"/>
                  <a:gd name="T45" fmla="*/ 0 h 2023"/>
                  <a:gd name="T46" fmla="*/ 0 w 1866"/>
                  <a:gd name="T47" fmla="*/ 0 h 2023"/>
                  <a:gd name="T48" fmla="*/ 0 w 1866"/>
                  <a:gd name="T49" fmla="*/ 0 h 2023"/>
                  <a:gd name="T50" fmla="*/ 0 w 1866"/>
                  <a:gd name="T51" fmla="*/ 0 h 2023"/>
                  <a:gd name="T52" fmla="*/ 0 w 1866"/>
                  <a:gd name="T53" fmla="*/ 0 h 2023"/>
                  <a:gd name="T54" fmla="*/ 0 w 1866"/>
                  <a:gd name="T55" fmla="*/ 0 h 2023"/>
                  <a:gd name="T56" fmla="*/ 0 w 1866"/>
                  <a:gd name="T57" fmla="*/ 0 h 2023"/>
                  <a:gd name="T58" fmla="*/ 0 w 1866"/>
                  <a:gd name="T59" fmla="*/ 0 h 2023"/>
                  <a:gd name="T60" fmla="*/ 0 w 1866"/>
                  <a:gd name="T61" fmla="*/ 0 h 2023"/>
                  <a:gd name="T62" fmla="*/ 0 w 1866"/>
                  <a:gd name="T63" fmla="*/ 0 h 2023"/>
                  <a:gd name="T64" fmla="*/ 0 w 1866"/>
                  <a:gd name="T65" fmla="*/ 0 h 2023"/>
                  <a:gd name="T66" fmla="*/ 0 w 1866"/>
                  <a:gd name="T67" fmla="*/ 0 h 2023"/>
                  <a:gd name="T68" fmla="*/ 0 w 1866"/>
                  <a:gd name="T69" fmla="*/ 0 h 2023"/>
                  <a:gd name="T70" fmla="*/ 0 w 1866"/>
                  <a:gd name="T71" fmla="*/ 0 h 2023"/>
                  <a:gd name="T72" fmla="*/ 0 w 1866"/>
                  <a:gd name="T73" fmla="*/ 0 h 2023"/>
                  <a:gd name="T74" fmla="*/ 0 w 1866"/>
                  <a:gd name="T75" fmla="*/ 0 h 2023"/>
                  <a:gd name="T76" fmla="*/ 0 w 1866"/>
                  <a:gd name="T77" fmla="*/ 0 h 2023"/>
                  <a:gd name="T78" fmla="*/ 0 w 1866"/>
                  <a:gd name="T79" fmla="*/ 0 h 2023"/>
                  <a:gd name="T80" fmla="*/ 0 w 1866"/>
                  <a:gd name="T81" fmla="*/ 0 h 2023"/>
                  <a:gd name="T82" fmla="*/ 0 w 1866"/>
                  <a:gd name="T83" fmla="*/ 0 h 2023"/>
                  <a:gd name="T84" fmla="*/ 0 w 1866"/>
                  <a:gd name="T85" fmla="*/ 0 h 2023"/>
                  <a:gd name="T86" fmla="*/ 0 w 1866"/>
                  <a:gd name="T87" fmla="*/ 0 h 2023"/>
                  <a:gd name="T88" fmla="*/ 0 w 1866"/>
                  <a:gd name="T89" fmla="*/ 0 h 2023"/>
                  <a:gd name="T90" fmla="*/ 0 w 1866"/>
                  <a:gd name="T91" fmla="*/ 0 h 2023"/>
                  <a:gd name="T92" fmla="*/ 0 w 1866"/>
                  <a:gd name="T93" fmla="*/ 0 h 2023"/>
                  <a:gd name="T94" fmla="*/ 0 w 1866"/>
                  <a:gd name="T95" fmla="*/ 0 h 2023"/>
                  <a:gd name="T96" fmla="*/ 0 w 1866"/>
                  <a:gd name="T97" fmla="*/ 0 h 2023"/>
                  <a:gd name="T98" fmla="*/ 0 w 1866"/>
                  <a:gd name="T99" fmla="*/ 0 h 2023"/>
                  <a:gd name="T100" fmla="*/ 0 w 1866"/>
                  <a:gd name="T101" fmla="*/ 0 h 2023"/>
                  <a:gd name="T102" fmla="*/ 0 w 1866"/>
                  <a:gd name="T103" fmla="*/ 0 h 2023"/>
                  <a:gd name="T104" fmla="*/ 0 w 1866"/>
                  <a:gd name="T105" fmla="*/ 0 h 2023"/>
                  <a:gd name="T106" fmla="*/ 0 w 1866"/>
                  <a:gd name="T107" fmla="*/ 0 h 2023"/>
                  <a:gd name="T108" fmla="*/ 0 w 1866"/>
                  <a:gd name="T109" fmla="*/ 0 h 202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866" h="2023">
                    <a:moveTo>
                      <a:pt x="579" y="0"/>
                    </a:moveTo>
                    <a:lnTo>
                      <a:pt x="573" y="24"/>
                    </a:lnTo>
                    <a:lnTo>
                      <a:pt x="555" y="89"/>
                    </a:lnTo>
                    <a:lnTo>
                      <a:pt x="525" y="189"/>
                    </a:lnTo>
                    <a:lnTo>
                      <a:pt x="489" y="317"/>
                    </a:lnTo>
                    <a:lnTo>
                      <a:pt x="445" y="470"/>
                    </a:lnTo>
                    <a:lnTo>
                      <a:pt x="396" y="640"/>
                    </a:lnTo>
                    <a:lnTo>
                      <a:pt x="344" y="821"/>
                    </a:lnTo>
                    <a:lnTo>
                      <a:pt x="290" y="1008"/>
                    </a:lnTo>
                    <a:lnTo>
                      <a:pt x="236" y="1196"/>
                    </a:lnTo>
                    <a:lnTo>
                      <a:pt x="184" y="1379"/>
                    </a:lnTo>
                    <a:lnTo>
                      <a:pt x="136" y="1548"/>
                    </a:lnTo>
                    <a:lnTo>
                      <a:pt x="92" y="1701"/>
                    </a:lnTo>
                    <a:lnTo>
                      <a:pt x="55" y="1831"/>
                    </a:lnTo>
                    <a:lnTo>
                      <a:pt x="26" y="1932"/>
                    </a:lnTo>
                    <a:lnTo>
                      <a:pt x="7" y="1998"/>
                    </a:lnTo>
                    <a:lnTo>
                      <a:pt x="0" y="2023"/>
                    </a:lnTo>
                    <a:lnTo>
                      <a:pt x="25" y="2023"/>
                    </a:lnTo>
                    <a:lnTo>
                      <a:pt x="81" y="2023"/>
                    </a:lnTo>
                    <a:lnTo>
                      <a:pt x="157" y="2023"/>
                    </a:lnTo>
                    <a:lnTo>
                      <a:pt x="244" y="2023"/>
                    </a:lnTo>
                    <a:lnTo>
                      <a:pt x="330" y="2023"/>
                    </a:lnTo>
                    <a:lnTo>
                      <a:pt x="406" y="2023"/>
                    </a:lnTo>
                    <a:lnTo>
                      <a:pt x="460" y="2023"/>
                    </a:lnTo>
                    <a:lnTo>
                      <a:pt x="483" y="2023"/>
                    </a:lnTo>
                    <a:lnTo>
                      <a:pt x="487" y="2012"/>
                    </a:lnTo>
                    <a:lnTo>
                      <a:pt x="494" y="1985"/>
                    </a:lnTo>
                    <a:lnTo>
                      <a:pt x="506" y="1944"/>
                    </a:lnTo>
                    <a:lnTo>
                      <a:pt x="521" y="1891"/>
                    </a:lnTo>
                    <a:lnTo>
                      <a:pt x="538" y="1830"/>
                    </a:lnTo>
                    <a:lnTo>
                      <a:pt x="559" y="1761"/>
                    </a:lnTo>
                    <a:lnTo>
                      <a:pt x="579" y="1686"/>
                    </a:lnTo>
                    <a:lnTo>
                      <a:pt x="601" y="1611"/>
                    </a:lnTo>
                    <a:lnTo>
                      <a:pt x="623" y="1535"/>
                    </a:lnTo>
                    <a:lnTo>
                      <a:pt x="644" y="1462"/>
                    </a:lnTo>
                    <a:lnTo>
                      <a:pt x="664" y="1393"/>
                    </a:lnTo>
                    <a:lnTo>
                      <a:pt x="681" y="1332"/>
                    </a:lnTo>
                    <a:lnTo>
                      <a:pt x="696" y="1280"/>
                    </a:lnTo>
                    <a:lnTo>
                      <a:pt x="708" y="1240"/>
                    </a:lnTo>
                    <a:lnTo>
                      <a:pt x="715" y="1214"/>
                    </a:lnTo>
                    <a:lnTo>
                      <a:pt x="718" y="1206"/>
                    </a:lnTo>
                    <a:lnTo>
                      <a:pt x="719" y="1204"/>
                    </a:lnTo>
                    <a:lnTo>
                      <a:pt x="720" y="1201"/>
                    </a:lnTo>
                    <a:lnTo>
                      <a:pt x="722" y="1200"/>
                    </a:lnTo>
                    <a:lnTo>
                      <a:pt x="724" y="1200"/>
                    </a:lnTo>
                    <a:lnTo>
                      <a:pt x="756" y="1200"/>
                    </a:lnTo>
                    <a:lnTo>
                      <a:pt x="787" y="1200"/>
                    </a:lnTo>
                    <a:lnTo>
                      <a:pt x="815" y="1203"/>
                    </a:lnTo>
                    <a:lnTo>
                      <a:pt x="841" y="1205"/>
                    </a:lnTo>
                    <a:lnTo>
                      <a:pt x="853" y="1207"/>
                    </a:lnTo>
                    <a:lnTo>
                      <a:pt x="863" y="1209"/>
                    </a:lnTo>
                    <a:lnTo>
                      <a:pt x="874" y="1212"/>
                    </a:lnTo>
                    <a:lnTo>
                      <a:pt x="885" y="1216"/>
                    </a:lnTo>
                    <a:lnTo>
                      <a:pt x="895" y="1220"/>
                    </a:lnTo>
                    <a:lnTo>
                      <a:pt x="903" y="1224"/>
                    </a:lnTo>
                    <a:lnTo>
                      <a:pt x="912" y="1230"/>
                    </a:lnTo>
                    <a:lnTo>
                      <a:pt x="921" y="1236"/>
                    </a:lnTo>
                    <a:lnTo>
                      <a:pt x="928" y="1243"/>
                    </a:lnTo>
                    <a:lnTo>
                      <a:pt x="935" y="1251"/>
                    </a:lnTo>
                    <a:lnTo>
                      <a:pt x="941" y="1260"/>
                    </a:lnTo>
                    <a:lnTo>
                      <a:pt x="948" y="1269"/>
                    </a:lnTo>
                    <a:lnTo>
                      <a:pt x="953" y="1280"/>
                    </a:lnTo>
                    <a:lnTo>
                      <a:pt x="958" y="1292"/>
                    </a:lnTo>
                    <a:lnTo>
                      <a:pt x="963" y="1306"/>
                    </a:lnTo>
                    <a:lnTo>
                      <a:pt x="967" y="1320"/>
                    </a:lnTo>
                    <a:lnTo>
                      <a:pt x="970" y="1335"/>
                    </a:lnTo>
                    <a:lnTo>
                      <a:pt x="973" y="1353"/>
                    </a:lnTo>
                    <a:lnTo>
                      <a:pt x="976" y="1371"/>
                    </a:lnTo>
                    <a:lnTo>
                      <a:pt x="978" y="1390"/>
                    </a:lnTo>
                    <a:lnTo>
                      <a:pt x="981" y="1435"/>
                    </a:lnTo>
                    <a:lnTo>
                      <a:pt x="983" y="1484"/>
                    </a:lnTo>
                    <a:lnTo>
                      <a:pt x="983" y="1505"/>
                    </a:lnTo>
                    <a:lnTo>
                      <a:pt x="983" y="1560"/>
                    </a:lnTo>
                    <a:lnTo>
                      <a:pt x="984" y="1639"/>
                    </a:lnTo>
                    <a:lnTo>
                      <a:pt x="986" y="1730"/>
                    </a:lnTo>
                    <a:lnTo>
                      <a:pt x="987" y="1825"/>
                    </a:lnTo>
                    <a:lnTo>
                      <a:pt x="989" y="1913"/>
                    </a:lnTo>
                    <a:lnTo>
                      <a:pt x="990" y="1982"/>
                    </a:lnTo>
                    <a:lnTo>
                      <a:pt x="990" y="2023"/>
                    </a:lnTo>
                    <a:lnTo>
                      <a:pt x="1016" y="2023"/>
                    </a:lnTo>
                    <a:lnTo>
                      <a:pt x="1073" y="2023"/>
                    </a:lnTo>
                    <a:lnTo>
                      <a:pt x="1153" y="2023"/>
                    </a:lnTo>
                    <a:lnTo>
                      <a:pt x="1244" y="2023"/>
                    </a:lnTo>
                    <a:lnTo>
                      <a:pt x="1335" y="2023"/>
                    </a:lnTo>
                    <a:lnTo>
                      <a:pt x="1415" y="2023"/>
                    </a:lnTo>
                    <a:lnTo>
                      <a:pt x="1473" y="2023"/>
                    </a:lnTo>
                    <a:lnTo>
                      <a:pt x="1498" y="2023"/>
                    </a:lnTo>
                    <a:lnTo>
                      <a:pt x="1497" y="1991"/>
                    </a:lnTo>
                    <a:lnTo>
                      <a:pt x="1494" y="1915"/>
                    </a:lnTo>
                    <a:lnTo>
                      <a:pt x="1489" y="1809"/>
                    </a:lnTo>
                    <a:lnTo>
                      <a:pt x="1484" y="1689"/>
                    </a:lnTo>
                    <a:lnTo>
                      <a:pt x="1480" y="1570"/>
                    </a:lnTo>
                    <a:lnTo>
                      <a:pt x="1475" y="1466"/>
                    </a:lnTo>
                    <a:lnTo>
                      <a:pt x="1472" y="1393"/>
                    </a:lnTo>
                    <a:lnTo>
                      <a:pt x="1471" y="1366"/>
                    </a:lnTo>
                    <a:lnTo>
                      <a:pt x="1469" y="1321"/>
                    </a:lnTo>
                    <a:lnTo>
                      <a:pt x="1466" y="1280"/>
                    </a:lnTo>
                    <a:lnTo>
                      <a:pt x="1461" y="1244"/>
                    </a:lnTo>
                    <a:lnTo>
                      <a:pt x="1457" y="1211"/>
                    </a:lnTo>
                    <a:lnTo>
                      <a:pt x="1450" y="1181"/>
                    </a:lnTo>
                    <a:lnTo>
                      <a:pt x="1443" y="1155"/>
                    </a:lnTo>
                    <a:lnTo>
                      <a:pt x="1439" y="1143"/>
                    </a:lnTo>
                    <a:lnTo>
                      <a:pt x="1434" y="1131"/>
                    </a:lnTo>
                    <a:lnTo>
                      <a:pt x="1430" y="1122"/>
                    </a:lnTo>
                    <a:lnTo>
                      <a:pt x="1425" y="1111"/>
                    </a:lnTo>
                    <a:lnTo>
                      <a:pt x="1419" y="1102"/>
                    </a:lnTo>
                    <a:lnTo>
                      <a:pt x="1413" y="1094"/>
                    </a:lnTo>
                    <a:lnTo>
                      <a:pt x="1406" y="1086"/>
                    </a:lnTo>
                    <a:lnTo>
                      <a:pt x="1400" y="1078"/>
                    </a:lnTo>
                    <a:lnTo>
                      <a:pt x="1392" y="1072"/>
                    </a:lnTo>
                    <a:lnTo>
                      <a:pt x="1385" y="1065"/>
                    </a:lnTo>
                    <a:lnTo>
                      <a:pt x="1376" y="1060"/>
                    </a:lnTo>
                    <a:lnTo>
                      <a:pt x="1367" y="1055"/>
                    </a:lnTo>
                    <a:lnTo>
                      <a:pt x="1359" y="1050"/>
                    </a:lnTo>
                    <a:lnTo>
                      <a:pt x="1349" y="1046"/>
                    </a:lnTo>
                    <a:lnTo>
                      <a:pt x="1339" y="1042"/>
                    </a:lnTo>
                    <a:lnTo>
                      <a:pt x="1329" y="1040"/>
                    </a:lnTo>
                    <a:lnTo>
                      <a:pt x="1306" y="1034"/>
                    </a:lnTo>
                    <a:lnTo>
                      <a:pt x="1280" y="1030"/>
                    </a:lnTo>
                    <a:lnTo>
                      <a:pt x="1278" y="1029"/>
                    </a:lnTo>
                    <a:lnTo>
                      <a:pt x="1276" y="1027"/>
                    </a:lnTo>
                    <a:lnTo>
                      <a:pt x="1275" y="1026"/>
                    </a:lnTo>
                    <a:lnTo>
                      <a:pt x="1275" y="1023"/>
                    </a:lnTo>
                    <a:lnTo>
                      <a:pt x="1275" y="1022"/>
                    </a:lnTo>
                    <a:lnTo>
                      <a:pt x="1275" y="1021"/>
                    </a:lnTo>
                    <a:lnTo>
                      <a:pt x="1276" y="1016"/>
                    </a:lnTo>
                    <a:lnTo>
                      <a:pt x="1278" y="1013"/>
                    </a:lnTo>
                    <a:lnTo>
                      <a:pt x="1281" y="1010"/>
                    </a:lnTo>
                    <a:lnTo>
                      <a:pt x="1317" y="1004"/>
                    </a:lnTo>
                    <a:lnTo>
                      <a:pt x="1350" y="995"/>
                    </a:lnTo>
                    <a:lnTo>
                      <a:pt x="1382" y="986"/>
                    </a:lnTo>
                    <a:lnTo>
                      <a:pt x="1414" y="976"/>
                    </a:lnTo>
                    <a:lnTo>
                      <a:pt x="1444" y="964"/>
                    </a:lnTo>
                    <a:lnTo>
                      <a:pt x="1472" y="952"/>
                    </a:lnTo>
                    <a:lnTo>
                      <a:pt x="1499" y="939"/>
                    </a:lnTo>
                    <a:lnTo>
                      <a:pt x="1525" y="925"/>
                    </a:lnTo>
                    <a:lnTo>
                      <a:pt x="1549" y="911"/>
                    </a:lnTo>
                    <a:lnTo>
                      <a:pt x="1572" y="896"/>
                    </a:lnTo>
                    <a:lnTo>
                      <a:pt x="1594" y="881"/>
                    </a:lnTo>
                    <a:lnTo>
                      <a:pt x="1616" y="865"/>
                    </a:lnTo>
                    <a:lnTo>
                      <a:pt x="1635" y="847"/>
                    </a:lnTo>
                    <a:lnTo>
                      <a:pt x="1654" y="830"/>
                    </a:lnTo>
                    <a:lnTo>
                      <a:pt x="1672" y="813"/>
                    </a:lnTo>
                    <a:lnTo>
                      <a:pt x="1689" y="796"/>
                    </a:lnTo>
                    <a:lnTo>
                      <a:pt x="1704" y="777"/>
                    </a:lnTo>
                    <a:lnTo>
                      <a:pt x="1719" y="759"/>
                    </a:lnTo>
                    <a:lnTo>
                      <a:pt x="1733" y="741"/>
                    </a:lnTo>
                    <a:lnTo>
                      <a:pt x="1746" y="722"/>
                    </a:lnTo>
                    <a:lnTo>
                      <a:pt x="1758" y="704"/>
                    </a:lnTo>
                    <a:lnTo>
                      <a:pt x="1769" y="685"/>
                    </a:lnTo>
                    <a:lnTo>
                      <a:pt x="1780" y="667"/>
                    </a:lnTo>
                    <a:lnTo>
                      <a:pt x="1789" y="649"/>
                    </a:lnTo>
                    <a:lnTo>
                      <a:pt x="1806" y="613"/>
                    </a:lnTo>
                    <a:lnTo>
                      <a:pt x="1820" y="579"/>
                    </a:lnTo>
                    <a:lnTo>
                      <a:pt x="1832" y="546"/>
                    </a:lnTo>
                    <a:lnTo>
                      <a:pt x="1841" y="516"/>
                    </a:lnTo>
                    <a:lnTo>
                      <a:pt x="1847" y="494"/>
                    </a:lnTo>
                    <a:lnTo>
                      <a:pt x="1852" y="474"/>
                    </a:lnTo>
                    <a:lnTo>
                      <a:pt x="1856" y="453"/>
                    </a:lnTo>
                    <a:lnTo>
                      <a:pt x="1860" y="433"/>
                    </a:lnTo>
                    <a:lnTo>
                      <a:pt x="1863" y="413"/>
                    </a:lnTo>
                    <a:lnTo>
                      <a:pt x="1865" y="394"/>
                    </a:lnTo>
                    <a:lnTo>
                      <a:pt x="1866" y="375"/>
                    </a:lnTo>
                    <a:lnTo>
                      <a:pt x="1866" y="356"/>
                    </a:lnTo>
                    <a:lnTo>
                      <a:pt x="1865" y="328"/>
                    </a:lnTo>
                    <a:lnTo>
                      <a:pt x="1862" y="301"/>
                    </a:lnTo>
                    <a:lnTo>
                      <a:pt x="1857" y="275"/>
                    </a:lnTo>
                    <a:lnTo>
                      <a:pt x="1851" y="250"/>
                    </a:lnTo>
                    <a:lnTo>
                      <a:pt x="1842" y="227"/>
                    </a:lnTo>
                    <a:lnTo>
                      <a:pt x="1833" y="204"/>
                    </a:lnTo>
                    <a:lnTo>
                      <a:pt x="1826" y="193"/>
                    </a:lnTo>
                    <a:lnTo>
                      <a:pt x="1820" y="182"/>
                    </a:lnTo>
                    <a:lnTo>
                      <a:pt x="1813" y="173"/>
                    </a:lnTo>
                    <a:lnTo>
                      <a:pt x="1806" y="162"/>
                    </a:lnTo>
                    <a:lnTo>
                      <a:pt x="1790" y="142"/>
                    </a:lnTo>
                    <a:lnTo>
                      <a:pt x="1772" y="124"/>
                    </a:lnTo>
                    <a:lnTo>
                      <a:pt x="1753" y="108"/>
                    </a:lnTo>
                    <a:lnTo>
                      <a:pt x="1732" y="92"/>
                    </a:lnTo>
                    <a:lnTo>
                      <a:pt x="1708" y="78"/>
                    </a:lnTo>
                    <a:lnTo>
                      <a:pt x="1685" y="64"/>
                    </a:lnTo>
                    <a:lnTo>
                      <a:pt x="1658" y="52"/>
                    </a:lnTo>
                    <a:lnTo>
                      <a:pt x="1631" y="41"/>
                    </a:lnTo>
                    <a:lnTo>
                      <a:pt x="1601" y="31"/>
                    </a:lnTo>
                    <a:lnTo>
                      <a:pt x="1569" y="23"/>
                    </a:lnTo>
                    <a:lnTo>
                      <a:pt x="1537" y="16"/>
                    </a:lnTo>
                    <a:lnTo>
                      <a:pt x="1503" y="10"/>
                    </a:lnTo>
                    <a:lnTo>
                      <a:pt x="1468" y="5"/>
                    </a:lnTo>
                    <a:lnTo>
                      <a:pt x="1430" y="2"/>
                    </a:lnTo>
                    <a:lnTo>
                      <a:pt x="1392" y="0"/>
                    </a:lnTo>
                    <a:lnTo>
                      <a:pt x="1352" y="0"/>
                    </a:lnTo>
                    <a:lnTo>
                      <a:pt x="1344" y="0"/>
                    </a:lnTo>
                    <a:lnTo>
                      <a:pt x="1319" y="0"/>
                    </a:lnTo>
                    <a:lnTo>
                      <a:pt x="1281" y="0"/>
                    </a:lnTo>
                    <a:lnTo>
                      <a:pt x="1232" y="0"/>
                    </a:lnTo>
                    <a:lnTo>
                      <a:pt x="1174" y="0"/>
                    </a:lnTo>
                    <a:lnTo>
                      <a:pt x="1110" y="0"/>
                    </a:lnTo>
                    <a:lnTo>
                      <a:pt x="1041" y="0"/>
                    </a:lnTo>
                    <a:lnTo>
                      <a:pt x="969" y="0"/>
                    </a:lnTo>
                    <a:lnTo>
                      <a:pt x="898" y="0"/>
                    </a:lnTo>
                    <a:lnTo>
                      <a:pt x="829" y="0"/>
                    </a:lnTo>
                    <a:lnTo>
                      <a:pt x="763" y="0"/>
                    </a:lnTo>
                    <a:lnTo>
                      <a:pt x="705" y="0"/>
                    </a:lnTo>
                    <a:lnTo>
                      <a:pt x="655" y="0"/>
                    </a:lnTo>
                    <a:lnTo>
                      <a:pt x="616" y="0"/>
                    </a:lnTo>
                    <a:lnTo>
                      <a:pt x="590" y="0"/>
                    </a:lnTo>
                    <a:lnTo>
                      <a:pt x="579" y="0"/>
                    </a:lnTo>
                    <a:close/>
                    <a:moveTo>
                      <a:pt x="800" y="867"/>
                    </a:moveTo>
                    <a:lnTo>
                      <a:pt x="797" y="864"/>
                    </a:lnTo>
                    <a:lnTo>
                      <a:pt x="799" y="860"/>
                    </a:lnTo>
                    <a:lnTo>
                      <a:pt x="949" y="336"/>
                    </a:lnTo>
                    <a:lnTo>
                      <a:pt x="950" y="334"/>
                    </a:lnTo>
                    <a:lnTo>
                      <a:pt x="952" y="331"/>
                    </a:lnTo>
                    <a:lnTo>
                      <a:pt x="953" y="330"/>
                    </a:lnTo>
                    <a:lnTo>
                      <a:pt x="955" y="330"/>
                    </a:lnTo>
                    <a:lnTo>
                      <a:pt x="1107" y="330"/>
                    </a:lnTo>
                    <a:lnTo>
                      <a:pt x="1126" y="330"/>
                    </a:lnTo>
                    <a:lnTo>
                      <a:pt x="1144" y="331"/>
                    </a:lnTo>
                    <a:lnTo>
                      <a:pt x="1161" y="334"/>
                    </a:lnTo>
                    <a:lnTo>
                      <a:pt x="1178" y="335"/>
                    </a:lnTo>
                    <a:lnTo>
                      <a:pt x="1194" y="338"/>
                    </a:lnTo>
                    <a:lnTo>
                      <a:pt x="1209" y="341"/>
                    </a:lnTo>
                    <a:lnTo>
                      <a:pt x="1223" y="344"/>
                    </a:lnTo>
                    <a:lnTo>
                      <a:pt x="1237" y="349"/>
                    </a:lnTo>
                    <a:lnTo>
                      <a:pt x="1250" y="354"/>
                    </a:lnTo>
                    <a:lnTo>
                      <a:pt x="1262" y="359"/>
                    </a:lnTo>
                    <a:lnTo>
                      <a:pt x="1273" y="366"/>
                    </a:lnTo>
                    <a:lnTo>
                      <a:pt x="1283" y="372"/>
                    </a:lnTo>
                    <a:lnTo>
                      <a:pt x="1293" y="380"/>
                    </a:lnTo>
                    <a:lnTo>
                      <a:pt x="1303" y="388"/>
                    </a:lnTo>
                    <a:lnTo>
                      <a:pt x="1310" y="396"/>
                    </a:lnTo>
                    <a:lnTo>
                      <a:pt x="1318" y="405"/>
                    </a:lnTo>
                    <a:lnTo>
                      <a:pt x="1324" y="415"/>
                    </a:lnTo>
                    <a:lnTo>
                      <a:pt x="1330" y="423"/>
                    </a:lnTo>
                    <a:lnTo>
                      <a:pt x="1334" y="433"/>
                    </a:lnTo>
                    <a:lnTo>
                      <a:pt x="1338" y="443"/>
                    </a:lnTo>
                    <a:lnTo>
                      <a:pt x="1341" y="453"/>
                    </a:lnTo>
                    <a:lnTo>
                      <a:pt x="1345" y="464"/>
                    </a:lnTo>
                    <a:lnTo>
                      <a:pt x="1347" y="476"/>
                    </a:lnTo>
                    <a:lnTo>
                      <a:pt x="1348" y="488"/>
                    </a:lnTo>
                    <a:lnTo>
                      <a:pt x="1349" y="500"/>
                    </a:lnTo>
                    <a:lnTo>
                      <a:pt x="1349" y="512"/>
                    </a:lnTo>
                    <a:lnTo>
                      <a:pt x="1348" y="525"/>
                    </a:lnTo>
                    <a:lnTo>
                      <a:pt x="1347" y="539"/>
                    </a:lnTo>
                    <a:lnTo>
                      <a:pt x="1345" y="553"/>
                    </a:lnTo>
                    <a:lnTo>
                      <a:pt x="1343" y="567"/>
                    </a:lnTo>
                    <a:lnTo>
                      <a:pt x="1338" y="581"/>
                    </a:lnTo>
                    <a:lnTo>
                      <a:pt x="1335" y="596"/>
                    </a:lnTo>
                    <a:lnTo>
                      <a:pt x="1326" y="622"/>
                    </a:lnTo>
                    <a:lnTo>
                      <a:pt x="1316" y="647"/>
                    </a:lnTo>
                    <a:lnTo>
                      <a:pt x="1304" y="671"/>
                    </a:lnTo>
                    <a:lnTo>
                      <a:pt x="1289" y="696"/>
                    </a:lnTo>
                    <a:lnTo>
                      <a:pt x="1280" y="708"/>
                    </a:lnTo>
                    <a:lnTo>
                      <a:pt x="1271" y="720"/>
                    </a:lnTo>
                    <a:lnTo>
                      <a:pt x="1263" y="731"/>
                    </a:lnTo>
                    <a:lnTo>
                      <a:pt x="1253" y="743"/>
                    </a:lnTo>
                    <a:lnTo>
                      <a:pt x="1243" y="753"/>
                    </a:lnTo>
                    <a:lnTo>
                      <a:pt x="1232" y="764"/>
                    </a:lnTo>
                    <a:lnTo>
                      <a:pt x="1221" y="774"/>
                    </a:lnTo>
                    <a:lnTo>
                      <a:pt x="1210" y="784"/>
                    </a:lnTo>
                    <a:lnTo>
                      <a:pt x="1197" y="793"/>
                    </a:lnTo>
                    <a:lnTo>
                      <a:pt x="1185" y="802"/>
                    </a:lnTo>
                    <a:lnTo>
                      <a:pt x="1172" y="811"/>
                    </a:lnTo>
                    <a:lnTo>
                      <a:pt x="1158" y="819"/>
                    </a:lnTo>
                    <a:lnTo>
                      <a:pt x="1144" y="827"/>
                    </a:lnTo>
                    <a:lnTo>
                      <a:pt x="1130" y="833"/>
                    </a:lnTo>
                    <a:lnTo>
                      <a:pt x="1115" y="840"/>
                    </a:lnTo>
                    <a:lnTo>
                      <a:pt x="1100" y="846"/>
                    </a:lnTo>
                    <a:lnTo>
                      <a:pt x="1084" y="852"/>
                    </a:lnTo>
                    <a:lnTo>
                      <a:pt x="1067" y="856"/>
                    </a:lnTo>
                    <a:lnTo>
                      <a:pt x="1050" y="860"/>
                    </a:lnTo>
                    <a:lnTo>
                      <a:pt x="1033" y="864"/>
                    </a:lnTo>
                    <a:lnTo>
                      <a:pt x="1016" y="866"/>
                    </a:lnTo>
                    <a:lnTo>
                      <a:pt x="997" y="868"/>
                    </a:lnTo>
                    <a:lnTo>
                      <a:pt x="979" y="869"/>
                    </a:lnTo>
                    <a:lnTo>
                      <a:pt x="959" y="870"/>
                    </a:lnTo>
                    <a:lnTo>
                      <a:pt x="805" y="870"/>
                    </a:lnTo>
                    <a:lnTo>
                      <a:pt x="802" y="869"/>
                    </a:lnTo>
                    <a:lnTo>
                      <a:pt x="800" y="86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35" name="Freeform 110">
                <a:extLst>
                  <a:ext uri="{FF2B5EF4-FFF2-40B4-BE49-F238E27FC236}">
                    <a16:creationId xmlns:a16="http://schemas.microsoft.com/office/drawing/2014/main" id="{A8CAE840-596B-465A-96C2-1149F31E9A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4486" y="2419743"/>
                <a:ext cx="189058" cy="213671"/>
              </a:xfrm>
              <a:custGeom>
                <a:avLst/>
                <a:gdLst>
                  <a:gd name="T0" fmla="*/ 0 w 1790"/>
                  <a:gd name="T1" fmla="*/ 0 h 2023"/>
                  <a:gd name="T2" fmla="*/ 0 w 1790"/>
                  <a:gd name="T3" fmla="*/ 0 h 2023"/>
                  <a:gd name="T4" fmla="*/ 0 w 1790"/>
                  <a:gd name="T5" fmla="*/ 0 h 2023"/>
                  <a:gd name="T6" fmla="*/ 0 w 1790"/>
                  <a:gd name="T7" fmla="*/ 0 h 2023"/>
                  <a:gd name="T8" fmla="*/ 0 w 1790"/>
                  <a:gd name="T9" fmla="*/ 0 h 2023"/>
                  <a:gd name="T10" fmla="*/ 0 w 1790"/>
                  <a:gd name="T11" fmla="*/ 0 h 2023"/>
                  <a:gd name="T12" fmla="*/ 0 w 1790"/>
                  <a:gd name="T13" fmla="*/ 0 h 2023"/>
                  <a:gd name="T14" fmla="*/ 0 w 1790"/>
                  <a:gd name="T15" fmla="*/ 0 h 2023"/>
                  <a:gd name="T16" fmla="*/ 0 w 1790"/>
                  <a:gd name="T17" fmla="*/ 0 h 2023"/>
                  <a:gd name="T18" fmla="*/ 0 w 1790"/>
                  <a:gd name="T19" fmla="*/ 0 h 2023"/>
                  <a:gd name="T20" fmla="*/ 0 w 1790"/>
                  <a:gd name="T21" fmla="*/ 0 h 2023"/>
                  <a:gd name="T22" fmla="*/ 0 w 1790"/>
                  <a:gd name="T23" fmla="*/ 0 h 2023"/>
                  <a:gd name="T24" fmla="*/ 0 w 1790"/>
                  <a:gd name="T25" fmla="*/ 0 h 2023"/>
                  <a:gd name="T26" fmla="*/ 0 w 1790"/>
                  <a:gd name="T27" fmla="*/ 0 h 2023"/>
                  <a:gd name="T28" fmla="*/ 0 w 1790"/>
                  <a:gd name="T29" fmla="*/ 0 h 2023"/>
                  <a:gd name="T30" fmla="*/ 0 w 1790"/>
                  <a:gd name="T31" fmla="*/ 0 h 2023"/>
                  <a:gd name="T32" fmla="*/ 0 w 1790"/>
                  <a:gd name="T33" fmla="*/ 0 h 2023"/>
                  <a:gd name="T34" fmla="*/ 0 w 1790"/>
                  <a:gd name="T35" fmla="*/ 0 h 2023"/>
                  <a:gd name="T36" fmla="*/ 0 w 1790"/>
                  <a:gd name="T37" fmla="*/ 0 h 2023"/>
                  <a:gd name="T38" fmla="*/ 0 w 1790"/>
                  <a:gd name="T39" fmla="*/ 0 h 2023"/>
                  <a:gd name="T40" fmla="*/ 0 w 1790"/>
                  <a:gd name="T41" fmla="*/ 0 h 2023"/>
                  <a:gd name="T42" fmla="*/ 0 w 1790"/>
                  <a:gd name="T43" fmla="*/ 0 h 2023"/>
                  <a:gd name="T44" fmla="*/ 0 w 1790"/>
                  <a:gd name="T45" fmla="*/ 0 h 2023"/>
                  <a:gd name="T46" fmla="*/ 0 w 1790"/>
                  <a:gd name="T47" fmla="*/ 0 h 2023"/>
                  <a:gd name="T48" fmla="*/ 0 w 1790"/>
                  <a:gd name="T49" fmla="*/ 0 h 2023"/>
                  <a:gd name="T50" fmla="*/ 0 w 1790"/>
                  <a:gd name="T51" fmla="*/ 0 h 2023"/>
                  <a:gd name="T52" fmla="*/ 0 w 1790"/>
                  <a:gd name="T53" fmla="*/ 0 h 2023"/>
                  <a:gd name="T54" fmla="*/ 0 w 1790"/>
                  <a:gd name="T55" fmla="*/ 0 h 2023"/>
                  <a:gd name="T56" fmla="*/ 0 w 1790"/>
                  <a:gd name="T57" fmla="*/ 0 h 2023"/>
                  <a:gd name="T58" fmla="*/ 0 w 1790"/>
                  <a:gd name="T59" fmla="*/ 0 h 2023"/>
                  <a:gd name="T60" fmla="*/ 0 w 1790"/>
                  <a:gd name="T61" fmla="*/ 0 h 2023"/>
                  <a:gd name="T62" fmla="*/ 0 w 1790"/>
                  <a:gd name="T63" fmla="*/ 0 h 2023"/>
                  <a:gd name="T64" fmla="*/ 0 w 1790"/>
                  <a:gd name="T65" fmla="*/ 0 h 2023"/>
                  <a:gd name="T66" fmla="*/ 0 w 1790"/>
                  <a:gd name="T67" fmla="*/ 0 h 2023"/>
                  <a:gd name="T68" fmla="*/ 0 w 1790"/>
                  <a:gd name="T69" fmla="*/ 0 h 2023"/>
                  <a:gd name="T70" fmla="*/ 0 w 1790"/>
                  <a:gd name="T71" fmla="*/ 0 h 2023"/>
                  <a:gd name="T72" fmla="*/ 0 w 1790"/>
                  <a:gd name="T73" fmla="*/ 0 h 2023"/>
                  <a:gd name="T74" fmla="*/ 0 w 1790"/>
                  <a:gd name="T75" fmla="*/ 0 h 2023"/>
                  <a:gd name="T76" fmla="*/ 0 w 1790"/>
                  <a:gd name="T77" fmla="*/ 0 h 2023"/>
                  <a:gd name="T78" fmla="*/ 0 w 1790"/>
                  <a:gd name="T79" fmla="*/ 0 h 2023"/>
                  <a:gd name="T80" fmla="*/ 0 w 1790"/>
                  <a:gd name="T81" fmla="*/ 0 h 2023"/>
                  <a:gd name="T82" fmla="*/ 0 w 1790"/>
                  <a:gd name="T83" fmla="*/ 0 h 2023"/>
                  <a:gd name="T84" fmla="*/ 0 w 1790"/>
                  <a:gd name="T85" fmla="*/ 0 h 2023"/>
                  <a:gd name="T86" fmla="*/ 0 w 1790"/>
                  <a:gd name="T87" fmla="*/ 0 h 2023"/>
                  <a:gd name="T88" fmla="*/ 0 w 1790"/>
                  <a:gd name="T89" fmla="*/ 0 h 202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790" h="2023">
                    <a:moveTo>
                      <a:pt x="581" y="0"/>
                    </a:moveTo>
                    <a:lnTo>
                      <a:pt x="573" y="24"/>
                    </a:lnTo>
                    <a:lnTo>
                      <a:pt x="555" y="89"/>
                    </a:lnTo>
                    <a:lnTo>
                      <a:pt x="527" y="189"/>
                    </a:lnTo>
                    <a:lnTo>
                      <a:pt x="489" y="317"/>
                    </a:lnTo>
                    <a:lnTo>
                      <a:pt x="446" y="470"/>
                    </a:lnTo>
                    <a:lnTo>
                      <a:pt x="397" y="640"/>
                    </a:lnTo>
                    <a:lnTo>
                      <a:pt x="346" y="821"/>
                    </a:lnTo>
                    <a:lnTo>
                      <a:pt x="292" y="1008"/>
                    </a:lnTo>
                    <a:lnTo>
                      <a:pt x="238" y="1196"/>
                    </a:lnTo>
                    <a:lnTo>
                      <a:pt x="186" y="1379"/>
                    </a:lnTo>
                    <a:lnTo>
                      <a:pt x="137" y="1548"/>
                    </a:lnTo>
                    <a:lnTo>
                      <a:pt x="93" y="1701"/>
                    </a:lnTo>
                    <a:lnTo>
                      <a:pt x="55" y="1831"/>
                    </a:lnTo>
                    <a:lnTo>
                      <a:pt x="27" y="1932"/>
                    </a:lnTo>
                    <a:lnTo>
                      <a:pt x="8" y="1998"/>
                    </a:lnTo>
                    <a:lnTo>
                      <a:pt x="0" y="2023"/>
                    </a:lnTo>
                    <a:lnTo>
                      <a:pt x="17" y="2023"/>
                    </a:lnTo>
                    <a:lnTo>
                      <a:pt x="58" y="2023"/>
                    </a:lnTo>
                    <a:lnTo>
                      <a:pt x="121" y="2023"/>
                    </a:lnTo>
                    <a:lnTo>
                      <a:pt x="201" y="2023"/>
                    </a:lnTo>
                    <a:lnTo>
                      <a:pt x="296" y="2023"/>
                    </a:lnTo>
                    <a:lnTo>
                      <a:pt x="400" y="2023"/>
                    </a:lnTo>
                    <a:lnTo>
                      <a:pt x="512" y="2023"/>
                    </a:lnTo>
                    <a:lnTo>
                      <a:pt x="626" y="2023"/>
                    </a:lnTo>
                    <a:lnTo>
                      <a:pt x="741" y="2023"/>
                    </a:lnTo>
                    <a:lnTo>
                      <a:pt x="853" y="2023"/>
                    </a:lnTo>
                    <a:lnTo>
                      <a:pt x="956" y="2023"/>
                    </a:lnTo>
                    <a:lnTo>
                      <a:pt x="1049" y="2023"/>
                    </a:lnTo>
                    <a:lnTo>
                      <a:pt x="1129" y="2023"/>
                    </a:lnTo>
                    <a:lnTo>
                      <a:pt x="1191" y="2023"/>
                    </a:lnTo>
                    <a:lnTo>
                      <a:pt x="1231" y="2023"/>
                    </a:lnTo>
                    <a:lnTo>
                      <a:pt x="1247" y="2023"/>
                    </a:lnTo>
                    <a:lnTo>
                      <a:pt x="1251" y="2007"/>
                    </a:lnTo>
                    <a:lnTo>
                      <a:pt x="1262" y="1968"/>
                    </a:lnTo>
                    <a:lnTo>
                      <a:pt x="1277" y="1915"/>
                    </a:lnTo>
                    <a:lnTo>
                      <a:pt x="1294" y="1855"/>
                    </a:lnTo>
                    <a:lnTo>
                      <a:pt x="1312" y="1794"/>
                    </a:lnTo>
                    <a:lnTo>
                      <a:pt x="1328" y="1740"/>
                    </a:lnTo>
                    <a:lnTo>
                      <a:pt x="1339" y="1700"/>
                    </a:lnTo>
                    <a:lnTo>
                      <a:pt x="1344" y="1681"/>
                    </a:lnTo>
                    <a:lnTo>
                      <a:pt x="1333" y="1681"/>
                    </a:lnTo>
                    <a:lnTo>
                      <a:pt x="1306" y="1681"/>
                    </a:lnTo>
                    <a:lnTo>
                      <a:pt x="1266" y="1681"/>
                    </a:lnTo>
                    <a:lnTo>
                      <a:pt x="1217" y="1681"/>
                    </a:lnTo>
                    <a:lnTo>
                      <a:pt x="1157" y="1681"/>
                    </a:lnTo>
                    <a:lnTo>
                      <a:pt x="1092" y="1681"/>
                    </a:lnTo>
                    <a:lnTo>
                      <a:pt x="1023" y="1681"/>
                    </a:lnTo>
                    <a:lnTo>
                      <a:pt x="952" y="1681"/>
                    </a:lnTo>
                    <a:lnTo>
                      <a:pt x="881" y="1681"/>
                    </a:lnTo>
                    <a:lnTo>
                      <a:pt x="813" y="1681"/>
                    </a:lnTo>
                    <a:lnTo>
                      <a:pt x="748" y="1681"/>
                    </a:lnTo>
                    <a:lnTo>
                      <a:pt x="691" y="1681"/>
                    </a:lnTo>
                    <a:lnTo>
                      <a:pt x="643" y="1681"/>
                    </a:lnTo>
                    <a:lnTo>
                      <a:pt x="606" y="1681"/>
                    </a:lnTo>
                    <a:lnTo>
                      <a:pt x="582" y="1681"/>
                    </a:lnTo>
                    <a:lnTo>
                      <a:pt x="573" y="1681"/>
                    </a:lnTo>
                    <a:lnTo>
                      <a:pt x="570" y="1681"/>
                    </a:lnTo>
                    <a:lnTo>
                      <a:pt x="568" y="1679"/>
                    </a:lnTo>
                    <a:lnTo>
                      <a:pt x="567" y="1676"/>
                    </a:lnTo>
                    <a:lnTo>
                      <a:pt x="566" y="1674"/>
                    </a:lnTo>
                    <a:lnTo>
                      <a:pt x="567" y="1673"/>
                    </a:lnTo>
                    <a:lnTo>
                      <a:pt x="567" y="1672"/>
                    </a:lnTo>
                    <a:lnTo>
                      <a:pt x="714" y="1158"/>
                    </a:lnTo>
                    <a:lnTo>
                      <a:pt x="715" y="1156"/>
                    </a:lnTo>
                    <a:lnTo>
                      <a:pt x="716" y="1155"/>
                    </a:lnTo>
                    <a:lnTo>
                      <a:pt x="718" y="1154"/>
                    </a:lnTo>
                    <a:lnTo>
                      <a:pt x="720" y="1154"/>
                    </a:lnTo>
                    <a:lnTo>
                      <a:pt x="750" y="1154"/>
                    </a:lnTo>
                    <a:lnTo>
                      <a:pt x="829" y="1154"/>
                    </a:lnTo>
                    <a:lnTo>
                      <a:pt x="940" y="1154"/>
                    </a:lnTo>
                    <a:lnTo>
                      <a:pt x="1068" y="1154"/>
                    </a:lnTo>
                    <a:lnTo>
                      <a:pt x="1196" y="1154"/>
                    </a:lnTo>
                    <a:lnTo>
                      <a:pt x="1308" y="1154"/>
                    </a:lnTo>
                    <a:lnTo>
                      <a:pt x="1389" y="1154"/>
                    </a:lnTo>
                    <a:lnTo>
                      <a:pt x="1423" y="1154"/>
                    </a:lnTo>
                    <a:lnTo>
                      <a:pt x="1427" y="1137"/>
                    </a:lnTo>
                    <a:lnTo>
                      <a:pt x="1439" y="1099"/>
                    </a:lnTo>
                    <a:lnTo>
                      <a:pt x="1454" y="1045"/>
                    </a:lnTo>
                    <a:lnTo>
                      <a:pt x="1471" y="986"/>
                    </a:lnTo>
                    <a:lnTo>
                      <a:pt x="1489" y="924"/>
                    </a:lnTo>
                    <a:lnTo>
                      <a:pt x="1504" y="870"/>
                    </a:lnTo>
                    <a:lnTo>
                      <a:pt x="1516" y="830"/>
                    </a:lnTo>
                    <a:lnTo>
                      <a:pt x="1521" y="811"/>
                    </a:lnTo>
                    <a:lnTo>
                      <a:pt x="1485" y="811"/>
                    </a:lnTo>
                    <a:lnTo>
                      <a:pt x="1404" y="811"/>
                    </a:lnTo>
                    <a:lnTo>
                      <a:pt x="1292" y="811"/>
                    </a:lnTo>
                    <a:lnTo>
                      <a:pt x="1165" y="811"/>
                    </a:lnTo>
                    <a:lnTo>
                      <a:pt x="1038" y="811"/>
                    </a:lnTo>
                    <a:lnTo>
                      <a:pt x="929" y="811"/>
                    </a:lnTo>
                    <a:lnTo>
                      <a:pt x="852" y="811"/>
                    </a:lnTo>
                    <a:lnTo>
                      <a:pt x="823" y="811"/>
                    </a:lnTo>
                    <a:lnTo>
                      <a:pt x="819" y="811"/>
                    </a:lnTo>
                    <a:lnTo>
                      <a:pt x="817" y="809"/>
                    </a:lnTo>
                    <a:lnTo>
                      <a:pt x="816" y="806"/>
                    </a:lnTo>
                    <a:lnTo>
                      <a:pt x="816" y="804"/>
                    </a:lnTo>
                    <a:lnTo>
                      <a:pt x="816" y="803"/>
                    </a:lnTo>
                    <a:lnTo>
                      <a:pt x="816" y="802"/>
                    </a:lnTo>
                    <a:lnTo>
                      <a:pt x="947" y="348"/>
                    </a:lnTo>
                    <a:lnTo>
                      <a:pt x="948" y="345"/>
                    </a:lnTo>
                    <a:lnTo>
                      <a:pt x="949" y="343"/>
                    </a:lnTo>
                    <a:lnTo>
                      <a:pt x="951" y="342"/>
                    </a:lnTo>
                    <a:lnTo>
                      <a:pt x="953" y="342"/>
                    </a:lnTo>
                    <a:lnTo>
                      <a:pt x="985" y="342"/>
                    </a:lnTo>
                    <a:lnTo>
                      <a:pt x="1067" y="342"/>
                    </a:lnTo>
                    <a:lnTo>
                      <a:pt x="1184" y="342"/>
                    </a:lnTo>
                    <a:lnTo>
                      <a:pt x="1318" y="342"/>
                    </a:lnTo>
                    <a:lnTo>
                      <a:pt x="1454" y="342"/>
                    </a:lnTo>
                    <a:lnTo>
                      <a:pt x="1572" y="342"/>
                    </a:lnTo>
                    <a:lnTo>
                      <a:pt x="1657" y="342"/>
                    </a:lnTo>
                    <a:lnTo>
                      <a:pt x="1692" y="342"/>
                    </a:lnTo>
                    <a:lnTo>
                      <a:pt x="1697" y="325"/>
                    </a:lnTo>
                    <a:lnTo>
                      <a:pt x="1708" y="287"/>
                    </a:lnTo>
                    <a:lnTo>
                      <a:pt x="1723" y="234"/>
                    </a:lnTo>
                    <a:lnTo>
                      <a:pt x="1740" y="174"/>
                    </a:lnTo>
                    <a:lnTo>
                      <a:pt x="1757" y="113"/>
                    </a:lnTo>
                    <a:lnTo>
                      <a:pt x="1772" y="59"/>
                    </a:lnTo>
                    <a:lnTo>
                      <a:pt x="1784" y="18"/>
                    </a:lnTo>
                    <a:lnTo>
                      <a:pt x="1790" y="0"/>
                    </a:lnTo>
                    <a:lnTo>
                      <a:pt x="1774" y="0"/>
                    </a:lnTo>
                    <a:lnTo>
                      <a:pt x="1734" y="0"/>
                    </a:lnTo>
                    <a:lnTo>
                      <a:pt x="1672" y="0"/>
                    </a:lnTo>
                    <a:lnTo>
                      <a:pt x="1594" y="0"/>
                    </a:lnTo>
                    <a:lnTo>
                      <a:pt x="1504" y="0"/>
                    </a:lnTo>
                    <a:lnTo>
                      <a:pt x="1402" y="0"/>
                    </a:lnTo>
                    <a:lnTo>
                      <a:pt x="1294" y="0"/>
                    </a:lnTo>
                    <a:lnTo>
                      <a:pt x="1182" y="0"/>
                    </a:lnTo>
                    <a:lnTo>
                      <a:pt x="1071" y="0"/>
                    </a:lnTo>
                    <a:lnTo>
                      <a:pt x="963" y="0"/>
                    </a:lnTo>
                    <a:lnTo>
                      <a:pt x="863" y="0"/>
                    </a:lnTo>
                    <a:lnTo>
                      <a:pt x="772" y="0"/>
                    </a:lnTo>
                    <a:lnTo>
                      <a:pt x="694" y="0"/>
                    </a:lnTo>
                    <a:lnTo>
                      <a:pt x="635" y="0"/>
                    </a:lnTo>
                    <a:lnTo>
                      <a:pt x="596" y="0"/>
                    </a:lnTo>
                    <a:lnTo>
                      <a:pt x="58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36" name="Freeform 111">
                <a:extLst>
                  <a:ext uri="{FF2B5EF4-FFF2-40B4-BE49-F238E27FC236}">
                    <a16:creationId xmlns:a16="http://schemas.microsoft.com/office/drawing/2014/main" id="{B103130B-59E2-4E1E-815A-A436B873695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1364" y="2419743"/>
                <a:ext cx="189058" cy="213671"/>
              </a:xfrm>
              <a:custGeom>
                <a:avLst/>
                <a:gdLst>
                  <a:gd name="T0" fmla="*/ 0 w 1789"/>
                  <a:gd name="T1" fmla="*/ 0 h 2023"/>
                  <a:gd name="T2" fmla="*/ 0 w 1789"/>
                  <a:gd name="T3" fmla="*/ 0 h 2023"/>
                  <a:gd name="T4" fmla="*/ 0 w 1789"/>
                  <a:gd name="T5" fmla="*/ 0 h 2023"/>
                  <a:gd name="T6" fmla="*/ 0 w 1789"/>
                  <a:gd name="T7" fmla="*/ 0 h 2023"/>
                  <a:gd name="T8" fmla="*/ 0 w 1789"/>
                  <a:gd name="T9" fmla="*/ 0 h 2023"/>
                  <a:gd name="T10" fmla="*/ 0 w 1789"/>
                  <a:gd name="T11" fmla="*/ 0 h 2023"/>
                  <a:gd name="T12" fmla="*/ 0 w 1789"/>
                  <a:gd name="T13" fmla="*/ 0 h 2023"/>
                  <a:gd name="T14" fmla="*/ 0 w 1789"/>
                  <a:gd name="T15" fmla="*/ 0 h 2023"/>
                  <a:gd name="T16" fmla="*/ 0 w 1789"/>
                  <a:gd name="T17" fmla="*/ 0 h 2023"/>
                  <a:gd name="T18" fmla="*/ 0 w 1789"/>
                  <a:gd name="T19" fmla="*/ 0 h 2023"/>
                  <a:gd name="T20" fmla="*/ 0 w 1789"/>
                  <a:gd name="T21" fmla="*/ 0 h 2023"/>
                  <a:gd name="T22" fmla="*/ 0 w 1789"/>
                  <a:gd name="T23" fmla="*/ 0 h 2023"/>
                  <a:gd name="T24" fmla="*/ 0 w 1789"/>
                  <a:gd name="T25" fmla="*/ 0 h 2023"/>
                  <a:gd name="T26" fmla="*/ 0 w 1789"/>
                  <a:gd name="T27" fmla="*/ 0 h 2023"/>
                  <a:gd name="T28" fmla="*/ 0 w 1789"/>
                  <a:gd name="T29" fmla="*/ 0 h 2023"/>
                  <a:gd name="T30" fmla="*/ 0 w 1789"/>
                  <a:gd name="T31" fmla="*/ 0 h 2023"/>
                  <a:gd name="T32" fmla="*/ 0 w 1789"/>
                  <a:gd name="T33" fmla="*/ 0 h 2023"/>
                  <a:gd name="T34" fmla="*/ 0 w 1789"/>
                  <a:gd name="T35" fmla="*/ 0 h 2023"/>
                  <a:gd name="T36" fmla="*/ 0 w 1789"/>
                  <a:gd name="T37" fmla="*/ 0 h 2023"/>
                  <a:gd name="T38" fmla="*/ 0 w 1789"/>
                  <a:gd name="T39" fmla="*/ 0 h 2023"/>
                  <a:gd name="T40" fmla="*/ 0 w 1789"/>
                  <a:gd name="T41" fmla="*/ 0 h 2023"/>
                  <a:gd name="T42" fmla="*/ 0 w 1789"/>
                  <a:gd name="T43" fmla="*/ 0 h 2023"/>
                  <a:gd name="T44" fmla="*/ 0 w 1789"/>
                  <a:gd name="T45" fmla="*/ 0 h 2023"/>
                  <a:gd name="T46" fmla="*/ 0 w 1789"/>
                  <a:gd name="T47" fmla="*/ 0 h 2023"/>
                  <a:gd name="T48" fmla="*/ 0 w 1789"/>
                  <a:gd name="T49" fmla="*/ 0 h 2023"/>
                  <a:gd name="T50" fmla="*/ 0 w 1789"/>
                  <a:gd name="T51" fmla="*/ 0 h 2023"/>
                  <a:gd name="T52" fmla="*/ 0 w 1789"/>
                  <a:gd name="T53" fmla="*/ 0 h 2023"/>
                  <a:gd name="T54" fmla="*/ 0 w 1789"/>
                  <a:gd name="T55" fmla="*/ 0 h 2023"/>
                  <a:gd name="T56" fmla="*/ 0 w 1789"/>
                  <a:gd name="T57" fmla="*/ 0 h 2023"/>
                  <a:gd name="T58" fmla="*/ 0 w 1789"/>
                  <a:gd name="T59" fmla="*/ 0 h 2023"/>
                  <a:gd name="T60" fmla="*/ 0 w 1789"/>
                  <a:gd name="T61" fmla="*/ 0 h 2023"/>
                  <a:gd name="T62" fmla="*/ 0 w 1789"/>
                  <a:gd name="T63" fmla="*/ 0 h 2023"/>
                  <a:gd name="T64" fmla="*/ 0 w 1789"/>
                  <a:gd name="T65" fmla="*/ 0 h 2023"/>
                  <a:gd name="T66" fmla="*/ 0 w 1789"/>
                  <a:gd name="T67" fmla="*/ 0 h 2023"/>
                  <a:gd name="T68" fmla="*/ 0 w 1789"/>
                  <a:gd name="T69" fmla="*/ 0 h 2023"/>
                  <a:gd name="T70" fmla="*/ 0 w 1789"/>
                  <a:gd name="T71" fmla="*/ 0 h 2023"/>
                  <a:gd name="T72" fmla="*/ 0 w 1789"/>
                  <a:gd name="T73" fmla="*/ 0 h 2023"/>
                  <a:gd name="T74" fmla="*/ 0 w 1789"/>
                  <a:gd name="T75" fmla="*/ 0 h 2023"/>
                  <a:gd name="T76" fmla="*/ 0 w 1789"/>
                  <a:gd name="T77" fmla="*/ 0 h 2023"/>
                  <a:gd name="T78" fmla="*/ 0 w 1789"/>
                  <a:gd name="T79" fmla="*/ 0 h 2023"/>
                  <a:gd name="T80" fmla="*/ 0 w 1789"/>
                  <a:gd name="T81" fmla="*/ 0 h 2023"/>
                  <a:gd name="T82" fmla="*/ 0 w 1789"/>
                  <a:gd name="T83" fmla="*/ 0 h 2023"/>
                  <a:gd name="T84" fmla="*/ 0 w 1789"/>
                  <a:gd name="T85" fmla="*/ 0 h 2023"/>
                  <a:gd name="T86" fmla="*/ 0 w 1789"/>
                  <a:gd name="T87" fmla="*/ 0 h 2023"/>
                  <a:gd name="T88" fmla="*/ 0 w 1789"/>
                  <a:gd name="T89" fmla="*/ 0 h 202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789" h="2023">
                    <a:moveTo>
                      <a:pt x="580" y="0"/>
                    </a:moveTo>
                    <a:lnTo>
                      <a:pt x="573" y="24"/>
                    </a:lnTo>
                    <a:lnTo>
                      <a:pt x="555" y="89"/>
                    </a:lnTo>
                    <a:lnTo>
                      <a:pt x="526" y="189"/>
                    </a:lnTo>
                    <a:lnTo>
                      <a:pt x="489" y="317"/>
                    </a:lnTo>
                    <a:lnTo>
                      <a:pt x="445" y="470"/>
                    </a:lnTo>
                    <a:lnTo>
                      <a:pt x="396" y="640"/>
                    </a:lnTo>
                    <a:lnTo>
                      <a:pt x="344" y="821"/>
                    </a:lnTo>
                    <a:lnTo>
                      <a:pt x="290" y="1008"/>
                    </a:lnTo>
                    <a:lnTo>
                      <a:pt x="236" y="1196"/>
                    </a:lnTo>
                    <a:lnTo>
                      <a:pt x="185" y="1379"/>
                    </a:lnTo>
                    <a:lnTo>
                      <a:pt x="136" y="1548"/>
                    </a:lnTo>
                    <a:lnTo>
                      <a:pt x="92" y="1701"/>
                    </a:lnTo>
                    <a:lnTo>
                      <a:pt x="55" y="1831"/>
                    </a:lnTo>
                    <a:lnTo>
                      <a:pt x="26" y="1932"/>
                    </a:lnTo>
                    <a:lnTo>
                      <a:pt x="6" y="1998"/>
                    </a:lnTo>
                    <a:lnTo>
                      <a:pt x="0" y="2023"/>
                    </a:lnTo>
                    <a:lnTo>
                      <a:pt x="16" y="2023"/>
                    </a:lnTo>
                    <a:lnTo>
                      <a:pt x="58" y="2023"/>
                    </a:lnTo>
                    <a:lnTo>
                      <a:pt x="121" y="2023"/>
                    </a:lnTo>
                    <a:lnTo>
                      <a:pt x="201" y="2023"/>
                    </a:lnTo>
                    <a:lnTo>
                      <a:pt x="295" y="2023"/>
                    </a:lnTo>
                    <a:lnTo>
                      <a:pt x="399" y="2023"/>
                    </a:lnTo>
                    <a:lnTo>
                      <a:pt x="511" y="2023"/>
                    </a:lnTo>
                    <a:lnTo>
                      <a:pt x="625" y="2023"/>
                    </a:lnTo>
                    <a:lnTo>
                      <a:pt x="740" y="2023"/>
                    </a:lnTo>
                    <a:lnTo>
                      <a:pt x="852" y="2023"/>
                    </a:lnTo>
                    <a:lnTo>
                      <a:pt x="955" y="2023"/>
                    </a:lnTo>
                    <a:lnTo>
                      <a:pt x="1049" y="2023"/>
                    </a:lnTo>
                    <a:lnTo>
                      <a:pt x="1128" y="2023"/>
                    </a:lnTo>
                    <a:lnTo>
                      <a:pt x="1189" y="2023"/>
                    </a:lnTo>
                    <a:lnTo>
                      <a:pt x="1229" y="2023"/>
                    </a:lnTo>
                    <a:lnTo>
                      <a:pt x="1246" y="2023"/>
                    </a:lnTo>
                    <a:lnTo>
                      <a:pt x="1250" y="2007"/>
                    </a:lnTo>
                    <a:lnTo>
                      <a:pt x="1261" y="1968"/>
                    </a:lnTo>
                    <a:lnTo>
                      <a:pt x="1277" y="1915"/>
                    </a:lnTo>
                    <a:lnTo>
                      <a:pt x="1294" y="1855"/>
                    </a:lnTo>
                    <a:lnTo>
                      <a:pt x="1311" y="1794"/>
                    </a:lnTo>
                    <a:lnTo>
                      <a:pt x="1327" y="1740"/>
                    </a:lnTo>
                    <a:lnTo>
                      <a:pt x="1338" y="1700"/>
                    </a:lnTo>
                    <a:lnTo>
                      <a:pt x="1344" y="1681"/>
                    </a:lnTo>
                    <a:lnTo>
                      <a:pt x="1332" y="1681"/>
                    </a:lnTo>
                    <a:lnTo>
                      <a:pt x="1305" y="1681"/>
                    </a:lnTo>
                    <a:lnTo>
                      <a:pt x="1266" y="1681"/>
                    </a:lnTo>
                    <a:lnTo>
                      <a:pt x="1215" y="1681"/>
                    </a:lnTo>
                    <a:lnTo>
                      <a:pt x="1157" y="1681"/>
                    </a:lnTo>
                    <a:lnTo>
                      <a:pt x="1091" y="1681"/>
                    </a:lnTo>
                    <a:lnTo>
                      <a:pt x="1022" y="1681"/>
                    </a:lnTo>
                    <a:lnTo>
                      <a:pt x="951" y="1681"/>
                    </a:lnTo>
                    <a:lnTo>
                      <a:pt x="880" y="1681"/>
                    </a:lnTo>
                    <a:lnTo>
                      <a:pt x="812" y="1681"/>
                    </a:lnTo>
                    <a:lnTo>
                      <a:pt x="748" y="1681"/>
                    </a:lnTo>
                    <a:lnTo>
                      <a:pt x="690" y="1681"/>
                    </a:lnTo>
                    <a:lnTo>
                      <a:pt x="642" y="1681"/>
                    </a:lnTo>
                    <a:lnTo>
                      <a:pt x="604" y="1681"/>
                    </a:lnTo>
                    <a:lnTo>
                      <a:pt x="581" y="1681"/>
                    </a:lnTo>
                    <a:lnTo>
                      <a:pt x="572" y="1681"/>
                    </a:lnTo>
                    <a:lnTo>
                      <a:pt x="569" y="1681"/>
                    </a:lnTo>
                    <a:lnTo>
                      <a:pt x="567" y="1679"/>
                    </a:lnTo>
                    <a:lnTo>
                      <a:pt x="566" y="1676"/>
                    </a:lnTo>
                    <a:lnTo>
                      <a:pt x="566" y="1674"/>
                    </a:lnTo>
                    <a:lnTo>
                      <a:pt x="566" y="1673"/>
                    </a:lnTo>
                    <a:lnTo>
                      <a:pt x="566" y="1672"/>
                    </a:lnTo>
                    <a:lnTo>
                      <a:pt x="713" y="1158"/>
                    </a:lnTo>
                    <a:lnTo>
                      <a:pt x="713" y="1156"/>
                    </a:lnTo>
                    <a:lnTo>
                      <a:pt x="716" y="1155"/>
                    </a:lnTo>
                    <a:lnTo>
                      <a:pt x="718" y="1154"/>
                    </a:lnTo>
                    <a:lnTo>
                      <a:pt x="720" y="1154"/>
                    </a:lnTo>
                    <a:lnTo>
                      <a:pt x="749" y="1154"/>
                    </a:lnTo>
                    <a:lnTo>
                      <a:pt x="828" y="1154"/>
                    </a:lnTo>
                    <a:lnTo>
                      <a:pt x="939" y="1154"/>
                    </a:lnTo>
                    <a:lnTo>
                      <a:pt x="1066" y="1154"/>
                    </a:lnTo>
                    <a:lnTo>
                      <a:pt x="1195" y="1154"/>
                    </a:lnTo>
                    <a:lnTo>
                      <a:pt x="1308" y="1154"/>
                    </a:lnTo>
                    <a:lnTo>
                      <a:pt x="1389" y="1154"/>
                    </a:lnTo>
                    <a:lnTo>
                      <a:pt x="1422" y="1154"/>
                    </a:lnTo>
                    <a:lnTo>
                      <a:pt x="1427" y="1137"/>
                    </a:lnTo>
                    <a:lnTo>
                      <a:pt x="1438" y="1099"/>
                    </a:lnTo>
                    <a:lnTo>
                      <a:pt x="1453" y="1045"/>
                    </a:lnTo>
                    <a:lnTo>
                      <a:pt x="1470" y="986"/>
                    </a:lnTo>
                    <a:lnTo>
                      <a:pt x="1487" y="924"/>
                    </a:lnTo>
                    <a:lnTo>
                      <a:pt x="1503" y="870"/>
                    </a:lnTo>
                    <a:lnTo>
                      <a:pt x="1514" y="830"/>
                    </a:lnTo>
                    <a:lnTo>
                      <a:pt x="1520" y="811"/>
                    </a:lnTo>
                    <a:lnTo>
                      <a:pt x="1485" y="811"/>
                    </a:lnTo>
                    <a:lnTo>
                      <a:pt x="1403" y="811"/>
                    </a:lnTo>
                    <a:lnTo>
                      <a:pt x="1291" y="811"/>
                    </a:lnTo>
                    <a:lnTo>
                      <a:pt x="1165" y="811"/>
                    </a:lnTo>
                    <a:lnTo>
                      <a:pt x="1038" y="811"/>
                    </a:lnTo>
                    <a:lnTo>
                      <a:pt x="928" y="811"/>
                    </a:lnTo>
                    <a:lnTo>
                      <a:pt x="851" y="811"/>
                    </a:lnTo>
                    <a:lnTo>
                      <a:pt x="821" y="811"/>
                    </a:lnTo>
                    <a:lnTo>
                      <a:pt x="818" y="811"/>
                    </a:lnTo>
                    <a:lnTo>
                      <a:pt x="816" y="809"/>
                    </a:lnTo>
                    <a:lnTo>
                      <a:pt x="815" y="806"/>
                    </a:lnTo>
                    <a:lnTo>
                      <a:pt x="815" y="804"/>
                    </a:lnTo>
                    <a:lnTo>
                      <a:pt x="815" y="803"/>
                    </a:lnTo>
                    <a:lnTo>
                      <a:pt x="815" y="802"/>
                    </a:lnTo>
                    <a:lnTo>
                      <a:pt x="946" y="348"/>
                    </a:lnTo>
                    <a:lnTo>
                      <a:pt x="947" y="345"/>
                    </a:lnTo>
                    <a:lnTo>
                      <a:pt x="948" y="343"/>
                    </a:lnTo>
                    <a:lnTo>
                      <a:pt x="950" y="342"/>
                    </a:lnTo>
                    <a:lnTo>
                      <a:pt x="952" y="342"/>
                    </a:lnTo>
                    <a:lnTo>
                      <a:pt x="983" y="342"/>
                    </a:lnTo>
                    <a:lnTo>
                      <a:pt x="1066" y="342"/>
                    </a:lnTo>
                    <a:lnTo>
                      <a:pt x="1183" y="342"/>
                    </a:lnTo>
                    <a:lnTo>
                      <a:pt x="1318" y="342"/>
                    </a:lnTo>
                    <a:lnTo>
                      <a:pt x="1453" y="342"/>
                    </a:lnTo>
                    <a:lnTo>
                      <a:pt x="1572" y="342"/>
                    </a:lnTo>
                    <a:lnTo>
                      <a:pt x="1657" y="342"/>
                    </a:lnTo>
                    <a:lnTo>
                      <a:pt x="1691" y="342"/>
                    </a:lnTo>
                    <a:lnTo>
                      <a:pt x="1696" y="325"/>
                    </a:lnTo>
                    <a:lnTo>
                      <a:pt x="1707" y="287"/>
                    </a:lnTo>
                    <a:lnTo>
                      <a:pt x="1722" y="234"/>
                    </a:lnTo>
                    <a:lnTo>
                      <a:pt x="1739" y="174"/>
                    </a:lnTo>
                    <a:lnTo>
                      <a:pt x="1756" y="113"/>
                    </a:lnTo>
                    <a:lnTo>
                      <a:pt x="1772" y="59"/>
                    </a:lnTo>
                    <a:lnTo>
                      <a:pt x="1783" y="18"/>
                    </a:lnTo>
                    <a:lnTo>
                      <a:pt x="1789" y="0"/>
                    </a:lnTo>
                    <a:lnTo>
                      <a:pt x="1772" y="0"/>
                    </a:lnTo>
                    <a:lnTo>
                      <a:pt x="1732" y="0"/>
                    </a:lnTo>
                    <a:lnTo>
                      <a:pt x="1672" y="0"/>
                    </a:lnTo>
                    <a:lnTo>
                      <a:pt x="1594" y="0"/>
                    </a:lnTo>
                    <a:lnTo>
                      <a:pt x="1503" y="0"/>
                    </a:lnTo>
                    <a:lnTo>
                      <a:pt x="1401" y="0"/>
                    </a:lnTo>
                    <a:lnTo>
                      <a:pt x="1293" y="0"/>
                    </a:lnTo>
                    <a:lnTo>
                      <a:pt x="1182" y="0"/>
                    </a:lnTo>
                    <a:lnTo>
                      <a:pt x="1070" y="0"/>
                    </a:lnTo>
                    <a:lnTo>
                      <a:pt x="962" y="0"/>
                    </a:lnTo>
                    <a:lnTo>
                      <a:pt x="861" y="0"/>
                    </a:lnTo>
                    <a:lnTo>
                      <a:pt x="771" y="0"/>
                    </a:lnTo>
                    <a:lnTo>
                      <a:pt x="694" y="0"/>
                    </a:lnTo>
                    <a:lnTo>
                      <a:pt x="634" y="0"/>
                    </a:lnTo>
                    <a:lnTo>
                      <a:pt x="595" y="0"/>
                    </a:lnTo>
                    <a:lnTo>
                      <a:pt x="58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37" name="Freeform 112">
                <a:extLst>
                  <a:ext uri="{FF2B5EF4-FFF2-40B4-BE49-F238E27FC236}">
                    <a16:creationId xmlns:a16="http://schemas.microsoft.com/office/drawing/2014/main" id="{CEAAF7DD-1C30-4FCC-98DF-4682392E06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6129" y="2419743"/>
                <a:ext cx="233418" cy="213671"/>
              </a:xfrm>
              <a:custGeom>
                <a:avLst/>
                <a:gdLst>
                  <a:gd name="T0" fmla="*/ 0 w 2209"/>
                  <a:gd name="T1" fmla="*/ 0 h 2023"/>
                  <a:gd name="T2" fmla="*/ 0 w 2209"/>
                  <a:gd name="T3" fmla="*/ 0 h 2023"/>
                  <a:gd name="T4" fmla="*/ 0 w 2209"/>
                  <a:gd name="T5" fmla="*/ 0 h 2023"/>
                  <a:gd name="T6" fmla="*/ 0 w 2209"/>
                  <a:gd name="T7" fmla="*/ 0 h 2023"/>
                  <a:gd name="T8" fmla="*/ 0 w 2209"/>
                  <a:gd name="T9" fmla="*/ 0 h 2023"/>
                  <a:gd name="T10" fmla="*/ 0 w 2209"/>
                  <a:gd name="T11" fmla="*/ 0 h 2023"/>
                  <a:gd name="T12" fmla="*/ 0 w 2209"/>
                  <a:gd name="T13" fmla="*/ 0 h 2023"/>
                  <a:gd name="T14" fmla="*/ 0 w 2209"/>
                  <a:gd name="T15" fmla="*/ 0 h 2023"/>
                  <a:gd name="T16" fmla="*/ 0 w 2209"/>
                  <a:gd name="T17" fmla="*/ 0 h 2023"/>
                  <a:gd name="T18" fmla="*/ 0 w 2209"/>
                  <a:gd name="T19" fmla="*/ 0 h 2023"/>
                  <a:gd name="T20" fmla="*/ 0 w 2209"/>
                  <a:gd name="T21" fmla="*/ 0 h 2023"/>
                  <a:gd name="T22" fmla="*/ 0 w 2209"/>
                  <a:gd name="T23" fmla="*/ 0 h 2023"/>
                  <a:gd name="T24" fmla="*/ 0 w 2209"/>
                  <a:gd name="T25" fmla="*/ 0 h 2023"/>
                  <a:gd name="T26" fmla="*/ 0 w 2209"/>
                  <a:gd name="T27" fmla="*/ 0 h 2023"/>
                  <a:gd name="T28" fmla="*/ 0 w 2209"/>
                  <a:gd name="T29" fmla="*/ 0 h 2023"/>
                  <a:gd name="T30" fmla="*/ 0 w 2209"/>
                  <a:gd name="T31" fmla="*/ 0 h 2023"/>
                  <a:gd name="T32" fmla="*/ 0 w 2209"/>
                  <a:gd name="T33" fmla="*/ 0 h 2023"/>
                  <a:gd name="T34" fmla="*/ 0 w 2209"/>
                  <a:gd name="T35" fmla="*/ 0 h 2023"/>
                  <a:gd name="T36" fmla="*/ 0 w 2209"/>
                  <a:gd name="T37" fmla="*/ 0 h 2023"/>
                  <a:gd name="T38" fmla="*/ 0 w 2209"/>
                  <a:gd name="T39" fmla="*/ 0 h 2023"/>
                  <a:gd name="T40" fmla="*/ 0 w 2209"/>
                  <a:gd name="T41" fmla="*/ 0 h 2023"/>
                  <a:gd name="T42" fmla="*/ 0 w 2209"/>
                  <a:gd name="T43" fmla="*/ 0 h 2023"/>
                  <a:gd name="T44" fmla="*/ 0 w 2209"/>
                  <a:gd name="T45" fmla="*/ 0 h 2023"/>
                  <a:gd name="T46" fmla="*/ 0 w 2209"/>
                  <a:gd name="T47" fmla="*/ 0 h 2023"/>
                  <a:gd name="T48" fmla="*/ 0 w 2209"/>
                  <a:gd name="T49" fmla="*/ 0 h 2023"/>
                  <a:gd name="T50" fmla="*/ 0 w 2209"/>
                  <a:gd name="T51" fmla="*/ 0 h 2023"/>
                  <a:gd name="T52" fmla="*/ 0 w 2209"/>
                  <a:gd name="T53" fmla="*/ 0 h 2023"/>
                  <a:gd name="T54" fmla="*/ 0 w 2209"/>
                  <a:gd name="T55" fmla="*/ 0 h 2023"/>
                  <a:gd name="T56" fmla="*/ 0 w 2209"/>
                  <a:gd name="T57" fmla="*/ 0 h 2023"/>
                  <a:gd name="T58" fmla="*/ 0 w 2209"/>
                  <a:gd name="T59" fmla="*/ 0 h 2023"/>
                  <a:gd name="T60" fmla="*/ 0 w 2209"/>
                  <a:gd name="T61" fmla="*/ 0 h 2023"/>
                  <a:gd name="T62" fmla="*/ 0 w 2209"/>
                  <a:gd name="T63" fmla="*/ 0 h 2023"/>
                  <a:gd name="T64" fmla="*/ 0 w 2209"/>
                  <a:gd name="T65" fmla="*/ 0 h 2023"/>
                  <a:gd name="T66" fmla="*/ 0 w 2209"/>
                  <a:gd name="T67" fmla="*/ 0 h 2023"/>
                  <a:gd name="T68" fmla="*/ 0 w 2209"/>
                  <a:gd name="T69" fmla="*/ 0 h 2023"/>
                  <a:gd name="T70" fmla="*/ 0 w 2209"/>
                  <a:gd name="T71" fmla="*/ 0 h 2023"/>
                  <a:gd name="T72" fmla="*/ 0 w 2209"/>
                  <a:gd name="T73" fmla="*/ 0 h 2023"/>
                  <a:gd name="T74" fmla="*/ 0 w 2209"/>
                  <a:gd name="T75" fmla="*/ 0 h 2023"/>
                  <a:gd name="T76" fmla="*/ 0 w 2209"/>
                  <a:gd name="T77" fmla="*/ 0 h 2023"/>
                  <a:gd name="T78" fmla="*/ 0 w 2209"/>
                  <a:gd name="T79" fmla="*/ 0 h 2023"/>
                  <a:gd name="T80" fmla="*/ 0 w 2209"/>
                  <a:gd name="T81" fmla="*/ 0 h 2023"/>
                  <a:gd name="T82" fmla="*/ 0 w 2209"/>
                  <a:gd name="T83" fmla="*/ 0 h 2023"/>
                  <a:gd name="T84" fmla="*/ 0 w 2209"/>
                  <a:gd name="T85" fmla="*/ 0 h 2023"/>
                  <a:gd name="T86" fmla="*/ 0 w 2209"/>
                  <a:gd name="T87" fmla="*/ 0 h 2023"/>
                  <a:gd name="T88" fmla="*/ 0 w 2209"/>
                  <a:gd name="T89" fmla="*/ 0 h 2023"/>
                  <a:gd name="T90" fmla="*/ 0 w 2209"/>
                  <a:gd name="T91" fmla="*/ 0 h 2023"/>
                  <a:gd name="T92" fmla="*/ 0 w 2209"/>
                  <a:gd name="T93" fmla="*/ 0 h 2023"/>
                  <a:gd name="T94" fmla="*/ 0 w 2209"/>
                  <a:gd name="T95" fmla="*/ 0 h 2023"/>
                  <a:gd name="T96" fmla="*/ 0 w 2209"/>
                  <a:gd name="T97" fmla="*/ 0 h 202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2209" h="2023">
                    <a:moveTo>
                      <a:pt x="1785" y="0"/>
                    </a:moveTo>
                    <a:lnTo>
                      <a:pt x="1780" y="17"/>
                    </a:lnTo>
                    <a:lnTo>
                      <a:pt x="1767" y="63"/>
                    </a:lnTo>
                    <a:lnTo>
                      <a:pt x="1747" y="134"/>
                    </a:lnTo>
                    <a:lnTo>
                      <a:pt x="1721" y="223"/>
                    </a:lnTo>
                    <a:lnTo>
                      <a:pt x="1690" y="330"/>
                    </a:lnTo>
                    <a:lnTo>
                      <a:pt x="1656" y="449"/>
                    </a:lnTo>
                    <a:lnTo>
                      <a:pt x="1620" y="576"/>
                    </a:lnTo>
                    <a:lnTo>
                      <a:pt x="1583" y="707"/>
                    </a:lnTo>
                    <a:lnTo>
                      <a:pt x="1545" y="838"/>
                    </a:lnTo>
                    <a:lnTo>
                      <a:pt x="1508" y="965"/>
                    </a:lnTo>
                    <a:lnTo>
                      <a:pt x="1475" y="1083"/>
                    </a:lnTo>
                    <a:lnTo>
                      <a:pt x="1444" y="1189"/>
                    </a:lnTo>
                    <a:lnTo>
                      <a:pt x="1418" y="1278"/>
                    </a:lnTo>
                    <a:lnTo>
                      <a:pt x="1399" y="1347"/>
                    </a:lnTo>
                    <a:lnTo>
                      <a:pt x="1386" y="1391"/>
                    </a:lnTo>
                    <a:lnTo>
                      <a:pt x="1382" y="1408"/>
                    </a:lnTo>
                    <a:lnTo>
                      <a:pt x="1381" y="1410"/>
                    </a:lnTo>
                    <a:lnTo>
                      <a:pt x="1380" y="1411"/>
                    </a:lnTo>
                    <a:lnTo>
                      <a:pt x="1377" y="1412"/>
                    </a:lnTo>
                    <a:lnTo>
                      <a:pt x="1375" y="1413"/>
                    </a:lnTo>
                    <a:lnTo>
                      <a:pt x="1369" y="1413"/>
                    </a:lnTo>
                    <a:lnTo>
                      <a:pt x="1367" y="1412"/>
                    </a:lnTo>
                    <a:lnTo>
                      <a:pt x="1365" y="1411"/>
                    </a:lnTo>
                    <a:lnTo>
                      <a:pt x="1363" y="1409"/>
                    </a:lnTo>
                    <a:lnTo>
                      <a:pt x="1362" y="1407"/>
                    </a:lnTo>
                    <a:lnTo>
                      <a:pt x="1360" y="1391"/>
                    </a:lnTo>
                    <a:lnTo>
                      <a:pt x="1353" y="1347"/>
                    </a:lnTo>
                    <a:lnTo>
                      <a:pt x="1343" y="1278"/>
                    </a:lnTo>
                    <a:lnTo>
                      <a:pt x="1330" y="1189"/>
                    </a:lnTo>
                    <a:lnTo>
                      <a:pt x="1314" y="1083"/>
                    </a:lnTo>
                    <a:lnTo>
                      <a:pt x="1297" y="965"/>
                    </a:lnTo>
                    <a:lnTo>
                      <a:pt x="1277" y="838"/>
                    </a:lnTo>
                    <a:lnTo>
                      <a:pt x="1258" y="707"/>
                    </a:lnTo>
                    <a:lnTo>
                      <a:pt x="1238" y="576"/>
                    </a:lnTo>
                    <a:lnTo>
                      <a:pt x="1219" y="450"/>
                    </a:lnTo>
                    <a:lnTo>
                      <a:pt x="1202" y="331"/>
                    </a:lnTo>
                    <a:lnTo>
                      <a:pt x="1185" y="225"/>
                    </a:lnTo>
                    <a:lnTo>
                      <a:pt x="1171" y="134"/>
                    </a:lnTo>
                    <a:lnTo>
                      <a:pt x="1162" y="64"/>
                    </a:lnTo>
                    <a:lnTo>
                      <a:pt x="1154" y="17"/>
                    </a:lnTo>
                    <a:lnTo>
                      <a:pt x="1152" y="0"/>
                    </a:lnTo>
                    <a:lnTo>
                      <a:pt x="1124" y="0"/>
                    </a:lnTo>
                    <a:lnTo>
                      <a:pt x="1059" y="0"/>
                    </a:lnTo>
                    <a:lnTo>
                      <a:pt x="968" y="0"/>
                    </a:lnTo>
                    <a:lnTo>
                      <a:pt x="865" y="0"/>
                    </a:lnTo>
                    <a:lnTo>
                      <a:pt x="762" y="0"/>
                    </a:lnTo>
                    <a:lnTo>
                      <a:pt x="672" y="0"/>
                    </a:lnTo>
                    <a:lnTo>
                      <a:pt x="607" y="0"/>
                    </a:lnTo>
                    <a:lnTo>
                      <a:pt x="580" y="0"/>
                    </a:lnTo>
                    <a:lnTo>
                      <a:pt x="573" y="24"/>
                    </a:lnTo>
                    <a:lnTo>
                      <a:pt x="554" y="89"/>
                    </a:lnTo>
                    <a:lnTo>
                      <a:pt x="526" y="189"/>
                    </a:lnTo>
                    <a:lnTo>
                      <a:pt x="489" y="317"/>
                    </a:lnTo>
                    <a:lnTo>
                      <a:pt x="445" y="470"/>
                    </a:lnTo>
                    <a:lnTo>
                      <a:pt x="396" y="640"/>
                    </a:lnTo>
                    <a:lnTo>
                      <a:pt x="345" y="821"/>
                    </a:lnTo>
                    <a:lnTo>
                      <a:pt x="291" y="1008"/>
                    </a:lnTo>
                    <a:lnTo>
                      <a:pt x="237" y="1196"/>
                    </a:lnTo>
                    <a:lnTo>
                      <a:pt x="185" y="1379"/>
                    </a:lnTo>
                    <a:lnTo>
                      <a:pt x="136" y="1548"/>
                    </a:lnTo>
                    <a:lnTo>
                      <a:pt x="92" y="1701"/>
                    </a:lnTo>
                    <a:lnTo>
                      <a:pt x="55" y="1831"/>
                    </a:lnTo>
                    <a:lnTo>
                      <a:pt x="26" y="1932"/>
                    </a:lnTo>
                    <a:lnTo>
                      <a:pt x="7" y="1998"/>
                    </a:lnTo>
                    <a:lnTo>
                      <a:pt x="0" y="2023"/>
                    </a:lnTo>
                    <a:lnTo>
                      <a:pt x="23" y="2023"/>
                    </a:lnTo>
                    <a:lnTo>
                      <a:pt x="71" y="2023"/>
                    </a:lnTo>
                    <a:lnTo>
                      <a:pt x="138" y="2023"/>
                    </a:lnTo>
                    <a:lnTo>
                      <a:pt x="214" y="2023"/>
                    </a:lnTo>
                    <a:lnTo>
                      <a:pt x="289" y="2023"/>
                    </a:lnTo>
                    <a:lnTo>
                      <a:pt x="354" y="2023"/>
                    </a:lnTo>
                    <a:lnTo>
                      <a:pt x="402" y="2023"/>
                    </a:lnTo>
                    <a:lnTo>
                      <a:pt x="422" y="2023"/>
                    </a:lnTo>
                    <a:lnTo>
                      <a:pt x="428" y="2006"/>
                    </a:lnTo>
                    <a:lnTo>
                      <a:pt x="442" y="1957"/>
                    </a:lnTo>
                    <a:lnTo>
                      <a:pt x="462" y="1884"/>
                    </a:lnTo>
                    <a:lnTo>
                      <a:pt x="489" y="1790"/>
                    </a:lnTo>
                    <a:lnTo>
                      <a:pt x="522" y="1679"/>
                    </a:lnTo>
                    <a:lnTo>
                      <a:pt x="557" y="1554"/>
                    </a:lnTo>
                    <a:lnTo>
                      <a:pt x="595" y="1422"/>
                    </a:lnTo>
                    <a:lnTo>
                      <a:pt x="634" y="1285"/>
                    </a:lnTo>
                    <a:lnTo>
                      <a:pt x="674" y="1149"/>
                    </a:lnTo>
                    <a:lnTo>
                      <a:pt x="712" y="1017"/>
                    </a:lnTo>
                    <a:lnTo>
                      <a:pt x="746" y="893"/>
                    </a:lnTo>
                    <a:lnTo>
                      <a:pt x="778" y="783"/>
                    </a:lnTo>
                    <a:lnTo>
                      <a:pt x="805" y="689"/>
                    </a:lnTo>
                    <a:lnTo>
                      <a:pt x="826" y="617"/>
                    </a:lnTo>
                    <a:lnTo>
                      <a:pt x="839" y="571"/>
                    </a:lnTo>
                    <a:lnTo>
                      <a:pt x="843" y="554"/>
                    </a:lnTo>
                    <a:lnTo>
                      <a:pt x="844" y="553"/>
                    </a:lnTo>
                    <a:lnTo>
                      <a:pt x="846" y="551"/>
                    </a:lnTo>
                    <a:lnTo>
                      <a:pt x="849" y="549"/>
                    </a:lnTo>
                    <a:lnTo>
                      <a:pt x="851" y="549"/>
                    </a:lnTo>
                    <a:lnTo>
                      <a:pt x="856" y="549"/>
                    </a:lnTo>
                    <a:lnTo>
                      <a:pt x="859" y="549"/>
                    </a:lnTo>
                    <a:lnTo>
                      <a:pt x="860" y="551"/>
                    </a:lnTo>
                    <a:lnTo>
                      <a:pt x="863" y="553"/>
                    </a:lnTo>
                    <a:lnTo>
                      <a:pt x="864" y="555"/>
                    </a:lnTo>
                    <a:lnTo>
                      <a:pt x="865" y="572"/>
                    </a:lnTo>
                    <a:lnTo>
                      <a:pt x="871" y="617"/>
                    </a:lnTo>
                    <a:lnTo>
                      <a:pt x="880" y="690"/>
                    </a:lnTo>
                    <a:lnTo>
                      <a:pt x="892" y="783"/>
                    </a:lnTo>
                    <a:lnTo>
                      <a:pt x="906" y="894"/>
                    </a:lnTo>
                    <a:lnTo>
                      <a:pt x="922" y="1017"/>
                    </a:lnTo>
                    <a:lnTo>
                      <a:pt x="939" y="1149"/>
                    </a:lnTo>
                    <a:lnTo>
                      <a:pt x="957" y="1285"/>
                    </a:lnTo>
                    <a:lnTo>
                      <a:pt x="974" y="1422"/>
                    </a:lnTo>
                    <a:lnTo>
                      <a:pt x="990" y="1553"/>
                    </a:lnTo>
                    <a:lnTo>
                      <a:pt x="1006" y="1678"/>
                    </a:lnTo>
                    <a:lnTo>
                      <a:pt x="1020" y="1789"/>
                    </a:lnTo>
                    <a:lnTo>
                      <a:pt x="1032" y="1884"/>
                    </a:lnTo>
                    <a:lnTo>
                      <a:pt x="1042" y="1957"/>
                    </a:lnTo>
                    <a:lnTo>
                      <a:pt x="1048" y="2005"/>
                    </a:lnTo>
                    <a:lnTo>
                      <a:pt x="1050" y="2023"/>
                    </a:lnTo>
                    <a:lnTo>
                      <a:pt x="1077" y="2023"/>
                    </a:lnTo>
                    <a:lnTo>
                      <a:pt x="1144" y="2023"/>
                    </a:lnTo>
                    <a:lnTo>
                      <a:pt x="1235" y="2023"/>
                    </a:lnTo>
                    <a:lnTo>
                      <a:pt x="1340" y="2023"/>
                    </a:lnTo>
                    <a:lnTo>
                      <a:pt x="1443" y="2023"/>
                    </a:lnTo>
                    <a:lnTo>
                      <a:pt x="1535" y="2023"/>
                    </a:lnTo>
                    <a:lnTo>
                      <a:pt x="1601" y="2023"/>
                    </a:lnTo>
                    <a:lnTo>
                      <a:pt x="1628" y="2023"/>
                    </a:lnTo>
                    <a:lnTo>
                      <a:pt x="1634" y="1999"/>
                    </a:lnTo>
                    <a:lnTo>
                      <a:pt x="1654" y="1934"/>
                    </a:lnTo>
                    <a:lnTo>
                      <a:pt x="1682" y="1834"/>
                    </a:lnTo>
                    <a:lnTo>
                      <a:pt x="1719" y="1706"/>
                    </a:lnTo>
                    <a:lnTo>
                      <a:pt x="1763" y="1553"/>
                    </a:lnTo>
                    <a:lnTo>
                      <a:pt x="1811" y="1383"/>
                    </a:lnTo>
                    <a:lnTo>
                      <a:pt x="1863" y="1201"/>
                    </a:lnTo>
                    <a:lnTo>
                      <a:pt x="1917" y="1015"/>
                    </a:lnTo>
                    <a:lnTo>
                      <a:pt x="1971" y="827"/>
                    </a:lnTo>
                    <a:lnTo>
                      <a:pt x="2023" y="646"/>
                    </a:lnTo>
                    <a:lnTo>
                      <a:pt x="2072" y="475"/>
                    </a:lnTo>
                    <a:lnTo>
                      <a:pt x="2116" y="322"/>
                    </a:lnTo>
                    <a:lnTo>
                      <a:pt x="2152" y="192"/>
                    </a:lnTo>
                    <a:lnTo>
                      <a:pt x="2182" y="92"/>
                    </a:lnTo>
                    <a:lnTo>
                      <a:pt x="2201" y="25"/>
                    </a:lnTo>
                    <a:lnTo>
                      <a:pt x="2209" y="0"/>
                    </a:lnTo>
                    <a:lnTo>
                      <a:pt x="2186" y="0"/>
                    </a:lnTo>
                    <a:lnTo>
                      <a:pt x="2136" y="0"/>
                    </a:lnTo>
                    <a:lnTo>
                      <a:pt x="2069" y="0"/>
                    </a:lnTo>
                    <a:lnTo>
                      <a:pt x="1994" y="0"/>
                    </a:lnTo>
                    <a:lnTo>
                      <a:pt x="1919" y="0"/>
                    </a:lnTo>
                    <a:lnTo>
                      <a:pt x="1853" y="0"/>
                    </a:lnTo>
                    <a:lnTo>
                      <a:pt x="1806" y="0"/>
                    </a:lnTo>
                    <a:lnTo>
                      <a:pt x="1785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38" name="Freeform 134">
                <a:extLst>
                  <a:ext uri="{FF2B5EF4-FFF2-40B4-BE49-F238E27FC236}">
                    <a16:creationId xmlns:a16="http://schemas.microsoft.com/office/drawing/2014/main" id="{7A61C930-7A31-4FA6-981F-8ADBF297A7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495116" y="2414454"/>
                <a:ext cx="210181" cy="223191"/>
              </a:xfrm>
              <a:custGeom>
                <a:avLst/>
                <a:gdLst>
                  <a:gd name="T0" fmla="*/ 0 w 1991"/>
                  <a:gd name="T1" fmla="*/ 0 h 2107"/>
                  <a:gd name="T2" fmla="*/ 0 w 1991"/>
                  <a:gd name="T3" fmla="*/ 0 h 2107"/>
                  <a:gd name="T4" fmla="*/ 0 w 1991"/>
                  <a:gd name="T5" fmla="*/ 0 h 2107"/>
                  <a:gd name="T6" fmla="*/ 0 w 1991"/>
                  <a:gd name="T7" fmla="*/ 0 h 2107"/>
                  <a:gd name="T8" fmla="*/ 0 w 1991"/>
                  <a:gd name="T9" fmla="*/ 0 h 2107"/>
                  <a:gd name="T10" fmla="*/ 0 w 1991"/>
                  <a:gd name="T11" fmla="*/ 0 h 2107"/>
                  <a:gd name="T12" fmla="*/ 0 w 1991"/>
                  <a:gd name="T13" fmla="*/ 0 h 2107"/>
                  <a:gd name="T14" fmla="*/ 0 w 1991"/>
                  <a:gd name="T15" fmla="*/ 0 h 2107"/>
                  <a:gd name="T16" fmla="*/ 0 w 1991"/>
                  <a:gd name="T17" fmla="*/ 0 h 2107"/>
                  <a:gd name="T18" fmla="*/ 0 w 1991"/>
                  <a:gd name="T19" fmla="*/ 0 h 2107"/>
                  <a:gd name="T20" fmla="*/ 0 w 1991"/>
                  <a:gd name="T21" fmla="*/ 0 h 2107"/>
                  <a:gd name="T22" fmla="*/ 0 w 1991"/>
                  <a:gd name="T23" fmla="*/ 0 h 2107"/>
                  <a:gd name="T24" fmla="*/ 0 w 1991"/>
                  <a:gd name="T25" fmla="*/ 0 h 2107"/>
                  <a:gd name="T26" fmla="*/ 0 w 1991"/>
                  <a:gd name="T27" fmla="*/ 0 h 2107"/>
                  <a:gd name="T28" fmla="*/ 0 w 1991"/>
                  <a:gd name="T29" fmla="*/ 0 h 2107"/>
                  <a:gd name="T30" fmla="*/ 0 w 1991"/>
                  <a:gd name="T31" fmla="*/ 0 h 2107"/>
                  <a:gd name="T32" fmla="*/ 0 w 1991"/>
                  <a:gd name="T33" fmla="*/ 0 h 2107"/>
                  <a:gd name="T34" fmla="*/ 0 w 1991"/>
                  <a:gd name="T35" fmla="*/ 0 h 2107"/>
                  <a:gd name="T36" fmla="*/ 0 w 1991"/>
                  <a:gd name="T37" fmla="*/ 0 h 2107"/>
                  <a:gd name="T38" fmla="*/ 0 w 1991"/>
                  <a:gd name="T39" fmla="*/ 0 h 2107"/>
                  <a:gd name="T40" fmla="*/ 0 w 1991"/>
                  <a:gd name="T41" fmla="*/ 0 h 2107"/>
                  <a:gd name="T42" fmla="*/ 0 w 1991"/>
                  <a:gd name="T43" fmla="*/ 0 h 2107"/>
                  <a:gd name="T44" fmla="*/ 0 w 1991"/>
                  <a:gd name="T45" fmla="*/ 0 h 2107"/>
                  <a:gd name="T46" fmla="*/ 0 w 1991"/>
                  <a:gd name="T47" fmla="*/ 0 h 2107"/>
                  <a:gd name="T48" fmla="*/ 0 w 1991"/>
                  <a:gd name="T49" fmla="*/ 0 h 2107"/>
                  <a:gd name="T50" fmla="*/ 0 w 1991"/>
                  <a:gd name="T51" fmla="*/ 0 h 2107"/>
                  <a:gd name="T52" fmla="*/ 0 w 1991"/>
                  <a:gd name="T53" fmla="*/ 0 h 2107"/>
                  <a:gd name="T54" fmla="*/ 0 w 1991"/>
                  <a:gd name="T55" fmla="*/ 0 h 2107"/>
                  <a:gd name="T56" fmla="*/ 0 w 1991"/>
                  <a:gd name="T57" fmla="*/ 0 h 2107"/>
                  <a:gd name="T58" fmla="*/ 0 w 1991"/>
                  <a:gd name="T59" fmla="*/ 0 h 2107"/>
                  <a:gd name="T60" fmla="*/ 0 w 1991"/>
                  <a:gd name="T61" fmla="*/ 0 h 2107"/>
                  <a:gd name="T62" fmla="*/ 0 w 1991"/>
                  <a:gd name="T63" fmla="*/ 0 h 2107"/>
                  <a:gd name="T64" fmla="*/ 0 w 1991"/>
                  <a:gd name="T65" fmla="*/ 0 h 2107"/>
                  <a:gd name="T66" fmla="*/ 0 w 1991"/>
                  <a:gd name="T67" fmla="*/ 0 h 2107"/>
                  <a:gd name="T68" fmla="*/ 0 w 1991"/>
                  <a:gd name="T69" fmla="*/ 0 h 2107"/>
                  <a:gd name="T70" fmla="*/ 0 w 1991"/>
                  <a:gd name="T71" fmla="*/ 0 h 2107"/>
                  <a:gd name="T72" fmla="*/ 0 w 1991"/>
                  <a:gd name="T73" fmla="*/ 0 h 2107"/>
                  <a:gd name="T74" fmla="*/ 0 w 1991"/>
                  <a:gd name="T75" fmla="*/ 0 h 2107"/>
                  <a:gd name="T76" fmla="*/ 0 w 1991"/>
                  <a:gd name="T77" fmla="*/ 0 h 2107"/>
                  <a:gd name="T78" fmla="*/ 0 w 1991"/>
                  <a:gd name="T79" fmla="*/ 0 h 2107"/>
                  <a:gd name="T80" fmla="*/ 0 w 1991"/>
                  <a:gd name="T81" fmla="*/ 0 h 2107"/>
                  <a:gd name="T82" fmla="*/ 0 w 1991"/>
                  <a:gd name="T83" fmla="*/ 0 h 2107"/>
                  <a:gd name="T84" fmla="*/ 0 w 1991"/>
                  <a:gd name="T85" fmla="*/ 0 h 2107"/>
                  <a:gd name="T86" fmla="*/ 0 w 1991"/>
                  <a:gd name="T87" fmla="*/ 0 h 2107"/>
                  <a:gd name="T88" fmla="*/ 0 w 1991"/>
                  <a:gd name="T89" fmla="*/ 0 h 2107"/>
                  <a:gd name="T90" fmla="*/ 0 w 1991"/>
                  <a:gd name="T91" fmla="*/ 0 h 2107"/>
                  <a:gd name="T92" fmla="*/ 0 w 1991"/>
                  <a:gd name="T93" fmla="*/ 0 h 2107"/>
                  <a:gd name="T94" fmla="*/ 0 w 1991"/>
                  <a:gd name="T95" fmla="*/ 0 h 2107"/>
                  <a:gd name="T96" fmla="*/ 0 w 1991"/>
                  <a:gd name="T97" fmla="*/ 0 h 2107"/>
                  <a:gd name="T98" fmla="*/ 0 w 1991"/>
                  <a:gd name="T99" fmla="*/ 0 h 2107"/>
                  <a:gd name="T100" fmla="*/ 0 w 1991"/>
                  <a:gd name="T101" fmla="*/ 0 h 2107"/>
                  <a:gd name="T102" fmla="*/ 0 w 1991"/>
                  <a:gd name="T103" fmla="*/ 0 h 2107"/>
                  <a:gd name="T104" fmla="*/ 0 w 1991"/>
                  <a:gd name="T105" fmla="*/ 0 h 2107"/>
                  <a:gd name="T106" fmla="*/ 0 w 1991"/>
                  <a:gd name="T107" fmla="*/ 0 h 2107"/>
                  <a:gd name="T108" fmla="*/ 0 w 1991"/>
                  <a:gd name="T109" fmla="*/ 0 h 2107"/>
                  <a:gd name="T110" fmla="*/ 0 w 1991"/>
                  <a:gd name="T111" fmla="*/ 0 h 2107"/>
                  <a:gd name="T112" fmla="*/ 0 w 1991"/>
                  <a:gd name="T113" fmla="*/ 0 h 2107"/>
                  <a:gd name="T114" fmla="*/ 0 w 1991"/>
                  <a:gd name="T115" fmla="*/ 0 h 2107"/>
                  <a:gd name="T116" fmla="*/ 0 w 1991"/>
                  <a:gd name="T117" fmla="*/ 0 h 2107"/>
                  <a:gd name="T118" fmla="*/ 0 w 1991"/>
                  <a:gd name="T119" fmla="*/ 0 h 2107"/>
                  <a:gd name="T120" fmla="*/ 0 w 1991"/>
                  <a:gd name="T121" fmla="*/ 0 h 2107"/>
                  <a:gd name="T122" fmla="*/ 0 w 1991"/>
                  <a:gd name="T123" fmla="*/ 0 h 210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991" h="2107">
                    <a:moveTo>
                      <a:pt x="968" y="1249"/>
                    </a:moveTo>
                    <a:lnTo>
                      <a:pt x="1248" y="1249"/>
                    </a:lnTo>
                    <a:lnTo>
                      <a:pt x="1115" y="1711"/>
                    </a:lnTo>
                    <a:lnTo>
                      <a:pt x="1097" y="1717"/>
                    </a:lnTo>
                    <a:lnTo>
                      <a:pt x="1076" y="1724"/>
                    </a:lnTo>
                    <a:lnTo>
                      <a:pt x="1056" y="1728"/>
                    </a:lnTo>
                    <a:lnTo>
                      <a:pt x="1033" y="1732"/>
                    </a:lnTo>
                    <a:lnTo>
                      <a:pt x="1010" y="1736"/>
                    </a:lnTo>
                    <a:lnTo>
                      <a:pt x="986" y="1738"/>
                    </a:lnTo>
                    <a:lnTo>
                      <a:pt x="961" y="1739"/>
                    </a:lnTo>
                    <a:lnTo>
                      <a:pt x="934" y="1740"/>
                    </a:lnTo>
                    <a:lnTo>
                      <a:pt x="899" y="1739"/>
                    </a:lnTo>
                    <a:lnTo>
                      <a:pt x="866" y="1736"/>
                    </a:lnTo>
                    <a:lnTo>
                      <a:pt x="834" y="1731"/>
                    </a:lnTo>
                    <a:lnTo>
                      <a:pt x="804" y="1726"/>
                    </a:lnTo>
                    <a:lnTo>
                      <a:pt x="776" y="1718"/>
                    </a:lnTo>
                    <a:lnTo>
                      <a:pt x="749" y="1710"/>
                    </a:lnTo>
                    <a:lnTo>
                      <a:pt x="724" y="1699"/>
                    </a:lnTo>
                    <a:lnTo>
                      <a:pt x="701" y="1687"/>
                    </a:lnTo>
                    <a:lnTo>
                      <a:pt x="679" y="1674"/>
                    </a:lnTo>
                    <a:lnTo>
                      <a:pt x="658" y="1659"/>
                    </a:lnTo>
                    <a:lnTo>
                      <a:pt x="639" y="1643"/>
                    </a:lnTo>
                    <a:lnTo>
                      <a:pt x="622" y="1626"/>
                    </a:lnTo>
                    <a:lnTo>
                      <a:pt x="606" y="1606"/>
                    </a:lnTo>
                    <a:lnTo>
                      <a:pt x="592" y="1587"/>
                    </a:lnTo>
                    <a:lnTo>
                      <a:pt x="579" y="1565"/>
                    </a:lnTo>
                    <a:lnTo>
                      <a:pt x="567" y="1544"/>
                    </a:lnTo>
                    <a:lnTo>
                      <a:pt x="557" y="1520"/>
                    </a:lnTo>
                    <a:lnTo>
                      <a:pt x="547" y="1495"/>
                    </a:lnTo>
                    <a:lnTo>
                      <a:pt x="541" y="1470"/>
                    </a:lnTo>
                    <a:lnTo>
                      <a:pt x="534" y="1443"/>
                    </a:lnTo>
                    <a:lnTo>
                      <a:pt x="530" y="1416"/>
                    </a:lnTo>
                    <a:lnTo>
                      <a:pt x="527" y="1387"/>
                    </a:lnTo>
                    <a:lnTo>
                      <a:pt x="525" y="1358"/>
                    </a:lnTo>
                    <a:lnTo>
                      <a:pt x="525" y="1328"/>
                    </a:lnTo>
                    <a:lnTo>
                      <a:pt x="525" y="1297"/>
                    </a:lnTo>
                    <a:lnTo>
                      <a:pt x="527" y="1266"/>
                    </a:lnTo>
                    <a:lnTo>
                      <a:pt x="530" y="1234"/>
                    </a:lnTo>
                    <a:lnTo>
                      <a:pt x="535" y="1200"/>
                    </a:lnTo>
                    <a:lnTo>
                      <a:pt x="541" y="1167"/>
                    </a:lnTo>
                    <a:lnTo>
                      <a:pt x="548" y="1132"/>
                    </a:lnTo>
                    <a:lnTo>
                      <a:pt x="557" y="1098"/>
                    </a:lnTo>
                    <a:lnTo>
                      <a:pt x="566" y="1062"/>
                    </a:lnTo>
                    <a:lnTo>
                      <a:pt x="573" y="1041"/>
                    </a:lnTo>
                    <a:lnTo>
                      <a:pt x="581" y="1017"/>
                    </a:lnTo>
                    <a:lnTo>
                      <a:pt x="589" y="992"/>
                    </a:lnTo>
                    <a:lnTo>
                      <a:pt x="599" y="966"/>
                    </a:lnTo>
                    <a:lnTo>
                      <a:pt x="610" y="940"/>
                    </a:lnTo>
                    <a:lnTo>
                      <a:pt x="622" y="912"/>
                    </a:lnTo>
                    <a:lnTo>
                      <a:pt x="635" y="885"/>
                    </a:lnTo>
                    <a:lnTo>
                      <a:pt x="650" y="857"/>
                    </a:lnTo>
                    <a:lnTo>
                      <a:pt x="665" y="828"/>
                    </a:lnTo>
                    <a:lnTo>
                      <a:pt x="681" y="799"/>
                    </a:lnTo>
                    <a:lnTo>
                      <a:pt x="699" y="770"/>
                    </a:lnTo>
                    <a:lnTo>
                      <a:pt x="719" y="742"/>
                    </a:lnTo>
                    <a:lnTo>
                      <a:pt x="738" y="712"/>
                    </a:lnTo>
                    <a:lnTo>
                      <a:pt x="761" y="684"/>
                    </a:lnTo>
                    <a:lnTo>
                      <a:pt x="784" y="656"/>
                    </a:lnTo>
                    <a:lnTo>
                      <a:pt x="807" y="628"/>
                    </a:lnTo>
                    <a:lnTo>
                      <a:pt x="833" y="601"/>
                    </a:lnTo>
                    <a:lnTo>
                      <a:pt x="860" y="575"/>
                    </a:lnTo>
                    <a:lnTo>
                      <a:pt x="888" y="550"/>
                    </a:lnTo>
                    <a:lnTo>
                      <a:pt x="919" y="527"/>
                    </a:lnTo>
                    <a:lnTo>
                      <a:pt x="950" y="504"/>
                    </a:lnTo>
                    <a:lnTo>
                      <a:pt x="982" y="482"/>
                    </a:lnTo>
                    <a:lnTo>
                      <a:pt x="1017" y="462"/>
                    </a:lnTo>
                    <a:lnTo>
                      <a:pt x="1052" y="444"/>
                    </a:lnTo>
                    <a:lnTo>
                      <a:pt x="1089" y="427"/>
                    </a:lnTo>
                    <a:lnTo>
                      <a:pt x="1128" y="412"/>
                    </a:lnTo>
                    <a:lnTo>
                      <a:pt x="1168" y="399"/>
                    </a:lnTo>
                    <a:lnTo>
                      <a:pt x="1210" y="389"/>
                    </a:lnTo>
                    <a:lnTo>
                      <a:pt x="1253" y="379"/>
                    </a:lnTo>
                    <a:lnTo>
                      <a:pt x="1299" y="373"/>
                    </a:lnTo>
                    <a:lnTo>
                      <a:pt x="1345" y="369"/>
                    </a:lnTo>
                    <a:lnTo>
                      <a:pt x="1394" y="368"/>
                    </a:lnTo>
                    <a:lnTo>
                      <a:pt x="1433" y="368"/>
                    </a:lnTo>
                    <a:lnTo>
                      <a:pt x="1472" y="370"/>
                    </a:lnTo>
                    <a:lnTo>
                      <a:pt x="1509" y="374"/>
                    </a:lnTo>
                    <a:lnTo>
                      <a:pt x="1544" y="379"/>
                    </a:lnTo>
                    <a:lnTo>
                      <a:pt x="1577" y="384"/>
                    </a:lnTo>
                    <a:lnTo>
                      <a:pt x="1608" y="392"/>
                    </a:lnTo>
                    <a:lnTo>
                      <a:pt x="1639" y="399"/>
                    </a:lnTo>
                    <a:lnTo>
                      <a:pt x="1668" y="407"/>
                    </a:lnTo>
                    <a:lnTo>
                      <a:pt x="1695" y="416"/>
                    </a:lnTo>
                    <a:lnTo>
                      <a:pt x="1721" y="425"/>
                    </a:lnTo>
                    <a:lnTo>
                      <a:pt x="1744" y="434"/>
                    </a:lnTo>
                    <a:lnTo>
                      <a:pt x="1768" y="444"/>
                    </a:lnTo>
                    <a:lnTo>
                      <a:pt x="1810" y="463"/>
                    </a:lnTo>
                    <a:lnTo>
                      <a:pt x="1847" y="481"/>
                    </a:lnTo>
                    <a:lnTo>
                      <a:pt x="1991" y="82"/>
                    </a:lnTo>
                    <a:lnTo>
                      <a:pt x="1945" y="68"/>
                    </a:lnTo>
                    <a:lnTo>
                      <a:pt x="1894" y="54"/>
                    </a:lnTo>
                    <a:lnTo>
                      <a:pt x="1866" y="47"/>
                    </a:lnTo>
                    <a:lnTo>
                      <a:pt x="1837" y="40"/>
                    </a:lnTo>
                    <a:lnTo>
                      <a:pt x="1807" y="33"/>
                    </a:lnTo>
                    <a:lnTo>
                      <a:pt x="1776" y="28"/>
                    </a:lnTo>
                    <a:lnTo>
                      <a:pt x="1742" y="21"/>
                    </a:lnTo>
                    <a:lnTo>
                      <a:pt x="1707" y="16"/>
                    </a:lnTo>
                    <a:lnTo>
                      <a:pt x="1670" y="12"/>
                    </a:lnTo>
                    <a:lnTo>
                      <a:pt x="1631" y="7"/>
                    </a:lnTo>
                    <a:lnTo>
                      <a:pt x="1591" y="4"/>
                    </a:lnTo>
                    <a:lnTo>
                      <a:pt x="1549" y="2"/>
                    </a:lnTo>
                    <a:lnTo>
                      <a:pt x="1506" y="0"/>
                    </a:lnTo>
                    <a:lnTo>
                      <a:pt x="1459" y="0"/>
                    </a:lnTo>
                    <a:lnTo>
                      <a:pt x="1385" y="1"/>
                    </a:lnTo>
                    <a:lnTo>
                      <a:pt x="1313" y="6"/>
                    </a:lnTo>
                    <a:lnTo>
                      <a:pt x="1242" y="14"/>
                    </a:lnTo>
                    <a:lnTo>
                      <a:pt x="1173" y="24"/>
                    </a:lnTo>
                    <a:lnTo>
                      <a:pt x="1107" y="38"/>
                    </a:lnTo>
                    <a:lnTo>
                      <a:pt x="1043" y="53"/>
                    </a:lnTo>
                    <a:lnTo>
                      <a:pt x="981" y="71"/>
                    </a:lnTo>
                    <a:lnTo>
                      <a:pt x="921" y="93"/>
                    </a:lnTo>
                    <a:lnTo>
                      <a:pt x="862" y="115"/>
                    </a:lnTo>
                    <a:lnTo>
                      <a:pt x="806" y="141"/>
                    </a:lnTo>
                    <a:lnTo>
                      <a:pt x="752" y="168"/>
                    </a:lnTo>
                    <a:lnTo>
                      <a:pt x="701" y="197"/>
                    </a:lnTo>
                    <a:lnTo>
                      <a:pt x="650" y="229"/>
                    </a:lnTo>
                    <a:lnTo>
                      <a:pt x="602" y="262"/>
                    </a:lnTo>
                    <a:lnTo>
                      <a:pt x="556" y="297"/>
                    </a:lnTo>
                    <a:lnTo>
                      <a:pt x="512" y="333"/>
                    </a:lnTo>
                    <a:lnTo>
                      <a:pt x="470" y="371"/>
                    </a:lnTo>
                    <a:lnTo>
                      <a:pt x="429" y="411"/>
                    </a:lnTo>
                    <a:lnTo>
                      <a:pt x="391" y="451"/>
                    </a:lnTo>
                    <a:lnTo>
                      <a:pt x="354" y="493"/>
                    </a:lnTo>
                    <a:lnTo>
                      <a:pt x="320" y="535"/>
                    </a:lnTo>
                    <a:lnTo>
                      <a:pt x="287" y="579"/>
                    </a:lnTo>
                    <a:lnTo>
                      <a:pt x="256" y="624"/>
                    </a:lnTo>
                    <a:lnTo>
                      <a:pt x="227" y="668"/>
                    </a:lnTo>
                    <a:lnTo>
                      <a:pt x="200" y="715"/>
                    </a:lnTo>
                    <a:lnTo>
                      <a:pt x="175" y="760"/>
                    </a:lnTo>
                    <a:lnTo>
                      <a:pt x="151" y="807"/>
                    </a:lnTo>
                    <a:lnTo>
                      <a:pt x="130" y="854"/>
                    </a:lnTo>
                    <a:lnTo>
                      <a:pt x="110" y="901"/>
                    </a:lnTo>
                    <a:lnTo>
                      <a:pt x="92" y="948"/>
                    </a:lnTo>
                    <a:lnTo>
                      <a:pt x="77" y="995"/>
                    </a:lnTo>
                    <a:lnTo>
                      <a:pt x="62" y="1042"/>
                    </a:lnTo>
                    <a:lnTo>
                      <a:pt x="41" y="1121"/>
                    </a:lnTo>
                    <a:lnTo>
                      <a:pt x="24" y="1198"/>
                    </a:lnTo>
                    <a:lnTo>
                      <a:pt x="12" y="1269"/>
                    </a:lnTo>
                    <a:lnTo>
                      <a:pt x="4" y="1338"/>
                    </a:lnTo>
                    <a:lnTo>
                      <a:pt x="0" y="1403"/>
                    </a:lnTo>
                    <a:lnTo>
                      <a:pt x="0" y="1465"/>
                    </a:lnTo>
                    <a:lnTo>
                      <a:pt x="4" y="1522"/>
                    </a:lnTo>
                    <a:lnTo>
                      <a:pt x="11" y="1577"/>
                    </a:lnTo>
                    <a:lnTo>
                      <a:pt x="22" y="1628"/>
                    </a:lnTo>
                    <a:lnTo>
                      <a:pt x="36" y="1675"/>
                    </a:lnTo>
                    <a:lnTo>
                      <a:pt x="52" y="1721"/>
                    </a:lnTo>
                    <a:lnTo>
                      <a:pt x="71" y="1763"/>
                    </a:lnTo>
                    <a:lnTo>
                      <a:pt x="93" y="1802"/>
                    </a:lnTo>
                    <a:lnTo>
                      <a:pt x="118" y="1837"/>
                    </a:lnTo>
                    <a:lnTo>
                      <a:pt x="144" y="1871"/>
                    </a:lnTo>
                    <a:lnTo>
                      <a:pt x="173" y="1902"/>
                    </a:lnTo>
                    <a:lnTo>
                      <a:pt x="203" y="1930"/>
                    </a:lnTo>
                    <a:lnTo>
                      <a:pt x="235" y="1956"/>
                    </a:lnTo>
                    <a:lnTo>
                      <a:pt x="270" y="1980"/>
                    </a:lnTo>
                    <a:lnTo>
                      <a:pt x="304" y="2000"/>
                    </a:lnTo>
                    <a:lnTo>
                      <a:pt x="341" y="2020"/>
                    </a:lnTo>
                    <a:lnTo>
                      <a:pt x="379" y="2036"/>
                    </a:lnTo>
                    <a:lnTo>
                      <a:pt x="417" y="2051"/>
                    </a:lnTo>
                    <a:lnTo>
                      <a:pt x="456" y="2064"/>
                    </a:lnTo>
                    <a:lnTo>
                      <a:pt x="494" y="2075"/>
                    </a:lnTo>
                    <a:lnTo>
                      <a:pt x="534" y="2083"/>
                    </a:lnTo>
                    <a:lnTo>
                      <a:pt x="574" y="2091"/>
                    </a:lnTo>
                    <a:lnTo>
                      <a:pt x="613" y="2097"/>
                    </a:lnTo>
                    <a:lnTo>
                      <a:pt x="653" y="2102"/>
                    </a:lnTo>
                    <a:lnTo>
                      <a:pt x="692" y="2105"/>
                    </a:lnTo>
                    <a:lnTo>
                      <a:pt x="730" y="2107"/>
                    </a:lnTo>
                    <a:lnTo>
                      <a:pt x="767" y="2107"/>
                    </a:lnTo>
                    <a:lnTo>
                      <a:pt x="830" y="2107"/>
                    </a:lnTo>
                    <a:lnTo>
                      <a:pt x="892" y="2105"/>
                    </a:lnTo>
                    <a:lnTo>
                      <a:pt x="951" y="2102"/>
                    </a:lnTo>
                    <a:lnTo>
                      <a:pt x="1007" y="2097"/>
                    </a:lnTo>
                    <a:lnTo>
                      <a:pt x="1062" y="2092"/>
                    </a:lnTo>
                    <a:lnTo>
                      <a:pt x="1115" y="2087"/>
                    </a:lnTo>
                    <a:lnTo>
                      <a:pt x="1166" y="2079"/>
                    </a:lnTo>
                    <a:lnTo>
                      <a:pt x="1213" y="2071"/>
                    </a:lnTo>
                    <a:lnTo>
                      <a:pt x="1260" y="2064"/>
                    </a:lnTo>
                    <a:lnTo>
                      <a:pt x="1302" y="2055"/>
                    </a:lnTo>
                    <a:lnTo>
                      <a:pt x="1343" y="2047"/>
                    </a:lnTo>
                    <a:lnTo>
                      <a:pt x="1379" y="2037"/>
                    </a:lnTo>
                    <a:lnTo>
                      <a:pt x="1414" y="2027"/>
                    </a:lnTo>
                    <a:lnTo>
                      <a:pt x="1446" y="2019"/>
                    </a:lnTo>
                    <a:lnTo>
                      <a:pt x="1474" y="2009"/>
                    </a:lnTo>
                    <a:lnTo>
                      <a:pt x="1499" y="1999"/>
                    </a:lnTo>
                    <a:lnTo>
                      <a:pt x="1813" y="905"/>
                    </a:lnTo>
                    <a:lnTo>
                      <a:pt x="1066" y="905"/>
                    </a:lnTo>
                    <a:lnTo>
                      <a:pt x="968" y="1249"/>
                    </a:lnTo>
                    <a:close/>
                  </a:path>
                </a:pathLst>
              </a:custGeom>
              <a:solidFill>
                <a:srgbClr val="8587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39" name="Freeform 135">
                <a:extLst>
                  <a:ext uri="{FF2B5EF4-FFF2-40B4-BE49-F238E27FC236}">
                    <a16:creationId xmlns:a16="http://schemas.microsoft.com/office/drawing/2014/main" id="{FE0D91B1-1930-4608-8EB0-ABD4379C13E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-282822" y="2414454"/>
                <a:ext cx="203844" cy="223191"/>
              </a:xfrm>
              <a:custGeom>
                <a:avLst/>
                <a:gdLst>
                  <a:gd name="T0" fmla="*/ 0 w 1930"/>
                  <a:gd name="T1" fmla="*/ 0 h 2107"/>
                  <a:gd name="T2" fmla="*/ 0 w 1930"/>
                  <a:gd name="T3" fmla="*/ 0 h 2107"/>
                  <a:gd name="T4" fmla="*/ 0 w 1930"/>
                  <a:gd name="T5" fmla="*/ 0 h 2107"/>
                  <a:gd name="T6" fmla="*/ 0 w 1930"/>
                  <a:gd name="T7" fmla="*/ 0 h 2107"/>
                  <a:gd name="T8" fmla="*/ 0 w 1930"/>
                  <a:gd name="T9" fmla="*/ 0 h 2107"/>
                  <a:gd name="T10" fmla="*/ 0 w 1930"/>
                  <a:gd name="T11" fmla="*/ 0 h 2107"/>
                  <a:gd name="T12" fmla="*/ 0 w 1930"/>
                  <a:gd name="T13" fmla="*/ 0 h 2107"/>
                  <a:gd name="T14" fmla="*/ 0 w 1930"/>
                  <a:gd name="T15" fmla="*/ 0 h 2107"/>
                  <a:gd name="T16" fmla="*/ 0 w 1930"/>
                  <a:gd name="T17" fmla="*/ 0 h 2107"/>
                  <a:gd name="T18" fmla="*/ 0 w 1930"/>
                  <a:gd name="T19" fmla="*/ 0 h 2107"/>
                  <a:gd name="T20" fmla="*/ 0 w 1930"/>
                  <a:gd name="T21" fmla="*/ 0 h 2107"/>
                  <a:gd name="T22" fmla="*/ 0 w 1930"/>
                  <a:gd name="T23" fmla="*/ 0 h 2107"/>
                  <a:gd name="T24" fmla="*/ 0 w 1930"/>
                  <a:gd name="T25" fmla="*/ 0 h 2107"/>
                  <a:gd name="T26" fmla="*/ 0 w 1930"/>
                  <a:gd name="T27" fmla="*/ 0 h 2107"/>
                  <a:gd name="T28" fmla="*/ 0 w 1930"/>
                  <a:gd name="T29" fmla="*/ 0 h 2107"/>
                  <a:gd name="T30" fmla="*/ 0 w 1930"/>
                  <a:gd name="T31" fmla="*/ 0 h 2107"/>
                  <a:gd name="T32" fmla="*/ 0 w 1930"/>
                  <a:gd name="T33" fmla="*/ 0 h 2107"/>
                  <a:gd name="T34" fmla="*/ 0 w 1930"/>
                  <a:gd name="T35" fmla="*/ 0 h 2107"/>
                  <a:gd name="T36" fmla="*/ 0 w 1930"/>
                  <a:gd name="T37" fmla="*/ 0 h 2107"/>
                  <a:gd name="T38" fmla="*/ 0 w 1930"/>
                  <a:gd name="T39" fmla="*/ 0 h 2107"/>
                  <a:gd name="T40" fmla="*/ 0 w 1930"/>
                  <a:gd name="T41" fmla="*/ 0 h 2107"/>
                  <a:gd name="T42" fmla="*/ 0 w 1930"/>
                  <a:gd name="T43" fmla="*/ 0 h 2107"/>
                  <a:gd name="T44" fmla="*/ 0 w 1930"/>
                  <a:gd name="T45" fmla="*/ 0 h 2107"/>
                  <a:gd name="T46" fmla="*/ 0 w 1930"/>
                  <a:gd name="T47" fmla="*/ 0 h 2107"/>
                  <a:gd name="T48" fmla="*/ 0 w 1930"/>
                  <a:gd name="T49" fmla="*/ 0 h 2107"/>
                  <a:gd name="T50" fmla="*/ 0 w 1930"/>
                  <a:gd name="T51" fmla="*/ 0 h 2107"/>
                  <a:gd name="T52" fmla="*/ 0 w 1930"/>
                  <a:gd name="T53" fmla="*/ 0 h 2107"/>
                  <a:gd name="T54" fmla="*/ 0 w 1930"/>
                  <a:gd name="T55" fmla="*/ 0 h 2107"/>
                  <a:gd name="T56" fmla="*/ 0 w 1930"/>
                  <a:gd name="T57" fmla="*/ 0 h 2107"/>
                  <a:gd name="T58" fmla="*/ 0 w 1930"/>
                  <a:gd name="T59" fmla="*/ 0 h 2107"/>
                  <a:gd name="T60" fmla="*/ 0 w 1930"/>
                  <a:gd name="T61" fmla="*/ 0 h 2107"/>
                  <a:gd name="T62" fmla="*/ 0 w 1930"/>
                  <a:gd name="T63" fmla="*/ 0 h 2107"/>
                  <a:gd name="T64" fmla="*/ 0 w 1930"/>
                  <a:gd name="T65" fmla="*/ 0 h 2107"/>
                  <a:gd name="T66" fmla="*/ 0 w 1930"/>
                  <a:gd name="T67" fmla="*/ 0 h 2107"/>
                  <a:gd name="T68" fmla="*/ 0 w 1930"/>
                  <a:gd name="T69" fmla="*/ 0 h 2107"/>
                  <a:gd name="T70" fmla="*/ 0 w 1930"/>
                  <a:gd name="T71" fmla="*/ 0 h 2107"/>
                  <a:gd name="T72" fmla="*/ 0 w 1930"/>
                  <a:gd name="T73" fmla="*/ 0 h 2107"/>
                  <a:gd name="T74" fmla="*/ 0 w 1930"/>
                  <a:gd name="T75" fmla="*/ 0 h 2107"/>
                  <a:gd name="T76" fmla="*/ 0 w 1930"/>
                  <a:gd name="T77" fmla="*/ 0 h 2107"/>
                  <a:gd name="T78" fmla="*/ 0 w 1930"/>
                  <a:gd name="T79" fmla="*/ 0 h 2107"/>
                  <a:gd name="T80" fmla="*/ 0 w 1930"/>
                  <a:gd name="T81" fmla="*/ 0 h 2107"/>
                  <a:gd name="T82" fmla="*/ 0 w 1930"/>
                  <a:gd name="T83" fmla="*/ 0 h 2107"/>
                  <a:gd name="T84" fmla="*/ 0 w 1930"/>
                  <a:gd name="T85" fmla="*/ 0 h 2107"/>
                  <a:gd name="T86" fmla="*/ 0 w 1930"/>
                  <a:gd name="T87" fmla="*/ 0 h 2107"/>
                  <a:gd name="T88" fmla="*/ 0 w 1930"/>
                  <a:gd name="T89" fmla="*/ 0 h 2107"/>
                  <a:gd name="T90" fmla="*/ 0 w 1930"/>
                  <a:gd name="T91" fmla="*/ 0 h 2107"/>
                  <a:gd name="T92" fmla="*/ 0 w 1930"/>
                  <a:gd name="T93" fmla="*/ 0 h 2107"/>
                  <a:gd name="T94" fmla="*/ 0 w 1930"/>
                  <a:gd name="T95" fmla="*/ 0 h 2107"/>
                  <a:gd name="T96" fmla="*/ 0 w 1930"/>
                  <a:gd name="T97" fmla="*/ 0 h 2107"/>
                  <a:gd name="T98" fmla="*/ 0 w 1930"/>
                  <a:gd name="T99" fmla="*/ 0 h 2107"/>
                  <a:gd name="T100" fmla="*/ 0 w 1930"/>
                  <a:gd name="T101" fmla="*/ 0 h 210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930" h="2107">
                    <a:moveTo>
                      <a:pt x="66" y="1053"/>
                    </a:moveTo>
                    <a:lnTo>
                      <a:pt x="51" y="1110"/>
                    </a:lnTo>
                    <a:lnTo>
                      <a:pt x="37" y="1164"/>
                    </a:lnTo>
                    <a:lnTo>
                      <a:pt x="26" y="1218"/>
                    </a:lnTo>
                    <a:lnTo>
                      <a:pt x="18" y="1270"/>
                    </a:lnTo>
                    <a:lnTo>
                      <a:pt x="10" y="1322"/>
                    </a:lnTo>
                    <a:lnTo>
                      <a:pt x="5" y="1373"/>
                    </a:lnTo>
                    <a:lnTo>
                      <a:pt x="2" y="1423"/>
                    </a:lnTo>
                    <a:lnTo>
                      <a:pt x="0" y="1470"/>
                    </a:lnTo>
                    <a:lnTo>
                      <a:pt x="3" y="1518"/>
                    </a:lnTo>
                    <a:lnTo>
                      <a:pt x="6" y="1563"/>
                    </a:lnTo>
                    <a:lnTo>
                      <a:pt x="11" y="1607"/>
                    </a:lnTo>
                    <a:lnTo>
                      <a:pt x="19" y="1650"/>
                    </a:lnTo>
                    <a:lnTo>
                      <a:pt x="29" y="1691"/>
                    </a:lnTo>
                    <a:lnTo>
                      <a:pt x="40" y="1730"/>
                    </a:lnTo>
                    <a:lnTo>
                      <a:pt x="54" y="1768"/>
                    </a:lnTo>
                    <a:lnTo>
                      <a:pt x="71" y="1805"/>
                    </a:lnTo>
                    <a:lnTo>
                      <a:pt x="90" y="1839"/>
                    </a:lnTo>
                    <a:lnTo>
                      <a:pt x="111" y="1872"/>
                    </a:lnTo>
                    <a:lnTo>
                      <a:pt x="134" y="1903"/>
                    </a:lnTo>
                    <a:lnTo>
                      <a:pt x="160" y="1932"/>
                    </a:lnTo>
                    <a:lnTo>
                      <a:pt x="188" y="1958"/>
                    </a:lnTo>
                    <a:lnTo>
                      <a:pt x="220" y="1983"/>
                    </a:lnTo>
                    <a:lnTo>
                      <a:pt x="252" y="2007"/>
                    </a:lnTo>
                    <a:lnTo>
                      <a:pt x="288" y="2027"/>
                    </a:lnTo>
                    <a:lnTo>
                      <a:pt x="325" y="2046"/>
                    </a:lnTo>
                    <a:lnTo>
                      <a:pt x="366" y="2062"/>
                    </a:lnTo>
                    <a:lnTo>
                      <a:pt x="410" y="2075"/>
                    </a:lnTo>
                    <a:lnTo>
                      <a:pt x="455" y="2087"/>
                    </a:lnTo>
                    <a:lnTo>
                      <a:pt x="502" y="2095"/>
                    </a:lnTo>
                    <a:lnTo>
                      <a:pt x="553" y="2102"/>
                    </a:lnTo>
                    <a:lnTo>
                      <a:pt x="607" y="2106"/>
                    </a:lnTo>
                    <a:lnTo>
                      <a:pt x="662" y="2107"/>
                    </a:lnTo>
                    <a:lnTo>
                      <a:pt x="719" y="2106"/>
                    </a:lnTo>
                    <a:lnTo>
                      <a:pt x="774" y="2102"/>
                    </a:lnTo>
                    <a:lnTo>
                      <a:pt x="829" y="2095"/>
                    </a:lnTo>
                    <a:lnTo>
                      <a:pt x="882" y="2087"/>
                    </a:lnTo>
                    <a:lnTo>
                      <a:pt x="934" y="2075"/>
                    </a:lnTo>
                    <a:lnTo>
                      <a:pt x="986" y="2062"/>
                    </a:lnTo>
                    <a:lnTo>
                      <a:pt x="1036" y="2046"/>
                    </a:lnTo>
                    <a:lnTo>
                      <a:pt x="1084" y="2027"/>
                    </a:lnTo>
                    <a:lnTo>
                      <a:pt x="1132" y="2007"/>
                    </a:lnTo>
                    <a:lnTo>
                      <a:pt x="1178" y="1983"/>
                    </a:lnTo>
                    <a:lnTo>
                      <a:pt x="1222" y="1958"/>
                    </a:lnTo>
                    <a:lnTo>
                      <a:pt x="1267" y="1932"/>
                    </a:lnTo>
                    <a:lnTo>
                      <a:pt x="1309" y="1903"/>
                    </a:lnTo>
                    <a:lnTo>
                      <a:pt x="1350" y="1872"/>
                    </a:lnTo>
                    <a:lnTo>
                      <a:pt x="1391" y="1839"/>
                    </a:lnTo>
                    <a:lnTo>
                      <a:pt x="1428" y="1805"/>
                    </a:lnTo>
                    <a:lnTo>
                      <a:pt x="1466" y="1768"/>
                    </a:lnTo>
                    <a:lnTo>
                      <a:pt x="1503" y="1730"/>
                    </a:lnTo>
                    <a:lnTo>
                      <a:pt x="1537" y="1691"/>
                    </a:lnTo>
                    <a:lnTo>
                      <a:pt x="1571" y="1650"/>
                    </a:lnTo>
                    <a:lnTo>
                      <a:pt x="1603" y="1607"/>
                    </a:lnTo>
                    <a:lnTo>
                      <a:pt x="1634" y="1563"/>
                    </a:lnTo>
                    <a:lnTo>
                      <a:pt x="1664" y="1518"/>
                    </a:lnTo>
                    <a:lnTo>
                      <a:pt x="1692" y="1470"/>
                    </a:lnTo>
                    <a:lnTo>
                      <a:pt x="1719" y="1423"/>
                    </a:lnTo>
                    <a:lnTo>
                      <a:pt x="1744" y="1373"/>
                    </a:lnTo>
                    <a:lnTo>
                      <a:pt x="1767" y="1322"/>
                    </a:lnTo>
                    <a:lnTo>
                      <a:pt x="1790" y="1270"/>
                    </a:lnTo>
                    <a:lnTo>
                      <a:pt x="1812" y="1218"/>
                    </a:lnTo>
                    <a:lnTo>
                      <a:pt x="1831" y="1164"/>
                    </a:lnTo>
                    <a:lnTo>
                      <a:pt x="1849" y="1110"/>
                    </a:lnTo>
                    <a:lnTo>
                      <a:pt x="1867" y="1053"/>
                    </a:lnTo>
                    <a:lnTo>
                      <a:pt x="1882" y="997"/>
                    </a:lnTo>
                    <a:lnTo>
                      <a:pt x="1895" y="943"/>
                    </a:lnTo>
                    <a:lnTo>
                      <a:pt x="1906" y="889"/>
                    </a:lnTo>
                    <a:lnTo>
                      <a:pt x="1915" y="837"/>
                    </a:lnTo>
                    <a:lnTo>
                      <a:pt x="1922" y="785"/>
                    </a:lnTo>
                    <a:lnTo>
                      <a:pt x="1927" y="734"/>
                    </a:lnTo>
                    <a:lnTo>
                      <a:pt x="1930" y="684"/>
                    </a:lnTo>
                    <a:lnTo>
                      <a:pt x="1930" y="637"/>
                    </a:lnTo>
                    <a:lnTo>
                      <a:pt x="1929" y="589"/>
                    </a:lnTo>
                    <a:lnTo>
                      <a:pt x="1926" y="544"/>
                    </a:lnTo>
                    <a:lnTo>
                      <a:pt x="1921" y="500"/>
                    </a:lnTo>
                    <a:lnTo>
                      <a:pt x="1913" y="458"/>
                    </a:lnTo>
                    <a:lnTo>
                      <a:pt x="1903" y="416"/>
                    </a:lnTo>
                    <a:lnTo>
                      <a:pt x="1890" y="377"/>
                    </a:lnTo>
                    <a:lnTo>
                      <a:pt x="1876" y="339"/>
                    </a:lnTo>
                    <a:lnTo>
                      <a:pt x="1860" y="302"/>
                    </a:lnTo>
                    <a:lnTo>
                      <a:pt x="1841" y="268"/>
                    </a:lnTo>
                    <a:lnTo>
                      <a:pt x="1819" y="235"/>
                    </a:lnTo>
                    <a:lnTo>
                      <a:pt x="1795" y="204"/>
                    </a:lnTo>
                    <a:lnTo>
                      <a:pt x="1770" y="176"/>
                    </a:lnTo>
                    <a:lnTo>
                      <a:pt x="1741" y="149"/>
                    </a:lnTo>
                    <a:lnTo>
                      <a:pt x="1711" y="124"/>
                    </a:lnTo>
                    <a:lnTo>
                      <a:pt x="1678" y="101"/>
                    </a:lnTo>
                    <a:lnTo>
                      <a:pt x="1642" y="80"/>
                    </a:lnTo>
                    <a:lnTo>
                      <a:pt x="1604" y="61"/>
                    </a:lnTo>
                    <a:lnTo>
                      <a:pt x="1563" y="45"/>
                    </a:lnTo>
                    <a:lnTo>
                      <a:pt x="1520" y="32"/>
                    </a:lnTo>
                    <a:lnTo>
                      <a:pt x="1475" y="20"/>
                    </a:lnTo>
                    <a:lnTo>
                      <a:pt x="1426" y="12"/>
                    </a:lnTo>
                    <a:lnTo>
                      <a:pt x="1376" y="5"/>
                    </a:lnTo>
                    <a:lnTo>
                      <a:pt x="1323" y="1"/>
                    </a:lnTo>
                    <a:lnTo>
                      <a:pt x="1267" y="0"/>
                    </a:lnTo>
                    <a:lnTo>
                      <a:pt x="1210" y="1"/>
                    </a:lnTo>
                    <a:lnTo>
                      <a:pt x="1154" y="5"/>
                    </a:lnTo>
                    <a:lnTo>
                      <a:pt x="1100" y="12"/>
                    </a:lnTo>
                    <a:lnTo>
                      <a:pt x="1046" y="20"/>
                    </a:lnTo>
                    <a:lnTo>
                      <a:pt x="995" y="32"/>
                    </a:lnTo>
                    <a:lnTo>
                      <a:pt x="944" y="45"/>
                    </a:lnTo>
                    <a:lnTo>
                      <a:pt x="894" y="61"/>
                    </a:lnTo>
                    <a:lnTo>
                      <a:pt x="846" y="80"/>
                    </a:lnTo>
                    <a:lnTo>
                      <a:pt x="798" y="101"/>
                    </a:lnTo>
                    <a:lnTo>
                      <a:pt x="753" y="124"/>
                    </a:lnTo>
                    <a:lnTo>
                      <a:pt x="707" y="149"/>
                    </a:lnTo>
                    <a:lnTo>
                      <a:pt x="664" y="176"/>
                    </a:lnTo>
                    <a:lnTo>
                      <a:pt x="621" y="204"/>
                    </a:lnTo>
                    <a:lnTo>
                      <a:pt x="580" y="235"/>
                    </a:lnTo>
                    <a:lnTo>
                      <a:pt x="540" y="268"/>
                    </a:lnTo>
                    <a:lnTo>
                      <a:pt x="501" y="302"/>
                    </a:lnTo>
                    <a:lnTo>
                      <a:pt x="465" y="339"/>
                    </a:lnTo>
                    <a:lnTo>
                      <a:pt x="428" y="377"/>
                    </a:lnTo>
                    <a:lnTo>
                      <a:pt x="393" y="416"/>
                    </a:lnTo>
                    <a:lnTo>
                      <a:pt x="360" y="458"/>
                    </a:lnTo>
                    <a:lnTo>
                      <a:pt x="329" y="500"/>
                    </a:lnTo>
                    <a:lnTo>
                      <a:pt x="297" y="544"/>
                    </a:lnTo>
                    <a:lnTo>
                      <a:pt x="268" y="589"/>
                    </a:lnTo>
                    <a:lnTo>
                      <a:pt x="240" y="637"/>
                    </a:lnTo>
                    <a:lnTo>
                      <a:pt x="213" y="684"/>
                    </a:lnTo>
                    <a:lnTo>
                      <a:pt x="188" y="734"/>
                    </a:lnTo>
                    <a:lnTo>
                      <a:pt x="165" y="785"/>
                    </a:lnTo>
                    <a:lnTo>
                      <a:pt x="142" y="837"/>
                    </a:lnTo>
                    <a:lnTo>
                      <a:pt x="120" y="889"/>
                    </a:lnTo>
                    <a:lnTo>
                      <a:pt x="101" y="943"/>
                    </a:lnTo>
                    <a:lnTo>
                      <a:pt x="82" y="997"/>
                    </a:lnTo>
                    <a:lnTo>
                      <a:pt x="66" y="1053"/>
                    </a:lnTo>
                    <a:close/>
                    <a:moveTo>
                      <a:pt x="576" y="1053"/>
                    </a:moveTo>
                    <a:lnTo>
                      <a:pt x="587" y="1017"/>
                    </a:lnTo>
                    <a:lnTo>
                      <a:pt x="598" y="981"/>
                    </a:lnTo>
                    <a:lnTo>
                      <a:pt x="609" y="946"/>
                    </a:lnTo>
                    <a:lnTo>
                      <a:pt x="622" y="911"/>
                    </a:lnTo>
                    <a:lnTo>
                      <a:pt x="634" y="876"/>
                    </a:lnTo>
                    <a:lnTo>
                      <a:pt x="647" y="843"/>
                    </a:lnTo>
                    <a:lnTo>
                      <a:pt x="661" y="810"/>
                    </a:lnTo>
                    <a:lnTo>
                      <a:pt x="675" y="778"/>
                    </a:lnTo>
                    <a:lnTo>
                      <a:pt x="690" y="746"/>
                    </a:lnTo>
                    <a:lnTo>
                      <a:pt x="705" y="716"/>
                    </a:lnTo>
                    <a:lnTo>
                      <a:pt x="720" y="686"/>
                    </a:lnTo>
                    <a:lnTo>
                      <a:pt x="737" y="657"/>
                    </a:lnTo>
                    <a:lnTo>
                      <a:pt x="753" y="629"/>
                    </a:lnTo>
                    <a:lnTo>
                      <a:pt x="770" y="602"/>
                    </a:lnTo>
                    <a:lnTo>
                      <a:pt x="787" y="577"/>
                    </a:lnTo>
                    <a:lnTo>
                      <a:pt x="806" y="553"/>
                    </a:lnTo>
                    <a:lnTo>
                      <a:pt x="824" y="529"/>
                    </a:lnTo>
                    <a:lnTo>
                      <a:pt x="843" y="506"/>
                    </a:lnTo>
                    <a:lnTo>
                      <a:pt x="863" y="486"/>
                    </a:lnTo>
                    <a:lnTo>
                      <a:pt x="883" y="465"/>
                    </a:lnTo>
                    <a:lnTo>
                      <a:pt x="904" y="447"/>
                    </a:lnTo>
                    <a:lnTo>
                      <a:pt x="925" y="430"/>
                    </a:lnTo>
                    <a:lnTo>
                      <a:pt x="947" y="414"/>
                    </a:lnTo>
                    <a:lnTo>
                      <a:pt x="970" y="400"/>
                    </a:lnTo>
                    <a:lnTo>
                      <a:pt x="992" y="387"/>
                    </a:lnTo>
                    <a:lnTo>
                      <a:pt x="1016" y="377"/>
                    </a:lnTo>
                    <a:lnTo>
                      <a:pt x="1040" y="367"/>
                    </a:lnTo>
                    <a:lnTo>
                      <a:pt x="1065" y="358"/>
                    </a:lnTo>
                    <a:lnTo>
                      <a:pt x="1090" y="353"/>
                    </a:lnTo>
                    <a:lnTo>
                      <a:pt x="1115" y="347"/>
                    </a:lnTo>
                    <a:lnTo>
                      <a:pt x="1141" y="345"/>
                    </a:lnTo>
                    <a:lnTo>
                      <a:pt x="1168" y="344"/>
                    </a:lnTo>
                    <a:lnTo>
                      <a:pt x="1194" y="345"/>
                    </a:lnTo>
                    <a:lnTo>
                      <a:pt x="1219" y="347"/>
                    </a:lnTo>
                    <a:lnTo>
                      <a:pt x="1242" y="353"/>
                    </a:lnTo>
                    <a:lnTo>
                      <a:pt x="1263" y="358"/>
                    </a:lnTo>
                    <a:lnTo>
                      <a:pt x="1284" y="367"/>
                    </a:lnTo>
                    <a:lnTo>
                      <a:pt x="1302" y="377"/>
                    </a:lnTo>
                    <a:lnTo>
                      <a:pt x="1319" y="387"/>
                    </a:lnTo>
                    <a:lnTo>
                      <a:pt x="1335" y="400"/>
                    </a:lnTo>
                    <a:lnTo>
                      <a:pt x="1350" y="414"/>
                    </a:lnTo>
                    <a:lnTo>
                      <a:pt x="1362" y="430"/>
                    </a:lnTo>
                    <a:lnTo>
                      <a:pt x="1373" y="447"/>
                    </a:lnTo>
                    <a:lnTo>
                      <a:pt x="1384" y="465"/>
                    </a:lnTo>
                    <a:lnTo>
                      <a:pt x="1393" y="486"/>
                    </a:lnTo>
                    <a:lnTo>
                      <a:pt x="1400" y="506"/>
                    </a:lnTo>
                    <a:lnTo>
                      <a:pt x="1407" y="529"/>
                    </a:lnTo>
                    <a:lnTo>
                      <a:pt x="1412" y="553"/>
                    </a:lnTo>
                    <a:lnTo>
                      <a:pt x="1417" y="577"/>
                    </a:lnTo>
                    <a:lnTo>
                      <a:pt x="1420" y="602"/>
                    </a:lnTo>
                    <a:lnTo>
                      <a:pt x="1421" y="629"/>
                    </a:lnTo>
                    <a:lnTo>
                      <a:pt x="1422" y="657"/>
                    </a:lnTo>
                    <a:lnTo>
                      <a:pt x="1422" y="686"/>
                    </a:lnTo>
                    <a:lnTo>
                      <a:pt x="1421" y="716"/>
                    </a:lnTo>
                    <a:lnTo>
                      <a:pt x="1418" y="746"/>
                    </a:lnTo>
                    <a:lnTo>
                      <a:pt x="1414" y="778"/>
                    </a:lnTo>
                    <a:lnTo>
                      <a:pt x="1410" y="810"/>
                    </a:lnTo>
                    <a:lnTo>
                      <a:pt x="1406" y="843"/>
                    </a:lnTo>
                    <a:lnTo>
                      <a:pt x="1399" y="876"/>
                    </a:lnTo>
                    <a:lnTo>
                      <a:pt x="1392" y="911"/>
                    </a:lnTo>
                    <a:lnTo>
                      <a:pt x="1384" y="946"/>
                    </a:lnTo>
                    <a:lnTo>
                      <a:pt x="1376" y="981"/>
                    </a:lnTo>
                    <a:lnTo>
                      <a:pt x="1367" y="1017"/>
                    </a:lnTo>
                    <a:lnTo>
                      <a:pt x="1356" y="1053"/>
                    </a:lnTo>
                    <a:lnTo>
                      <a:pt x="1345" y="1090"/>
                    </a:lnTo>
                    <a:lnTo>
                      <a:pt x="1335" y="1126"/>
                    </a:lnTo>
                    <a:lnTo>
                      <a:pt x="1323" y="1161"/>
                    </a:lnTo>
                    <a:lnTo>
                      <a:pt x="1311" y="1196"/>
                    </a:lnTo>
                    <a:lnTo>
                      <a:pt x="1298" y="1231"/>
                    </a:lnTo>
                    <a:lnTo>
                      <a:pt x="1285" y="1264"/>
                    </a:lnTo>
                    <a:lnTo>
                      <a:pt x="1271" y="1297"/>
                    </a:lnTo>
                    <a:lnTo>
                      <a:pt x="1257" y="1330"/>
                    </a:lnTo>
                    <a:lnTo>
                      <a:pt x="1242" y="1361"/>
                    </a:lnTo>
                    <a:lnTo>
                      <a:pt x="1227" y="1391"/>
                    </a:lnTo>
                    <a:lnTo>
                      <a:pt x="1212" y="1422"/>
                    </a:lnTo>
                    <a:lnTo>
                      <a:pt x="1195" y="1450"/>
                    </a:lnTo>
                    <a:lnTo>
                      <a:pt x="1178" y="1478"/>
                    </a:lnTo>
                    <a:lnTo>
                      <a:pt x="1161" y="1505"/>
                    </a:lnTo>
                    <a:lnTo>
                      <a:pt x="1144" y="1531"/>
                    </a:lnTo>
                    <a:lnTo>
                      <a:pt x="1125" y="1554"/>
                    </a:lnTo>
                    <a:lnTo>
                      <a:pt x="1106" y="1578"/>
                    </a:lnTo>
                    <a:lnTo>
                      <a:pt x="1087" y="1601"/>
                    </a:lnTo>
                    <a:lnTo>
                      <a:pt x="1067" y="1621"/>
                    </a:lnTo>
                    <a:lnTo>
                      <a:pt x="1046" y="1642"/>
                    </a:lnTo>
                    <a:lnTo>
                      <a:pt x="1026" y="1660"/>
                    </a:lnTo>
                    <a:lnTo>
                      <a:pt x="1004" y="1677"/>
                    </a:lnTo>
                    <a:lnTo>
                      <a:pt x="983" y="1693"/>
                    </a:lnTo>
                    <a:lnTo>
                      <a:pt x="960" y="1707"/>
                    </a:lnTo>
                    <a:lnTo>
                      <a:pt x="937" y="1720"/>
                    </a:lnTo>
                    <a:lnTo>
                      <a:pt x="914" y="1731"/>
                    </a:lnTo>
                    <a:lnTo>
                      <a:pt x="890" y="1740"/>
                    </a:lnTo>
                    <a:lnTo>
                      <a:pt x="865" y="1749"/>
                    </a:lnTo>
                    <a:lnTo>
                      <a:pt x="840" y="1755"/>
                    </a:lnTo>
                    <a:lnTo>
                      <a:pt x="814" y="1759"/>
                    </a:lnTo>
                    <a:lnTo>
                      <a:pt x="788" y="1762"/>
                    </a:lnTo>
                    <a:lnTo>
                      <a:pt x="761" y="1763"/>
                    </a:lnTo>
                    <a:lnTo>
                      <a:pt x="736" y="1762"/>
                    </a:lnTo>
                    <a:lnTo>
                      <a:pt x="711" y="1759"/>
                    </a:lnTo>
                    <a:lnTo>
                      <a:pt x="687" y="1755"/>
                    </a:lnTo>
                    <a:lnTo>
                      <a:pt x="666" y="1749"/>
                    </a:lnTo>
                    <a:lnTo>
                      <a:pt x="646" y="1740"/>
                    </a:lnTo>
                    <a:lnTo>
                      <a:pt x="628" y="1731"/>
                    </a:lnTo>
                    <a:lnTo>
                      <a:pt x="610" y="1720"/>
                    </a:lnTo>
                    <a:lnTo>
                      <a:pt x="595" y="1707"/>
                    </a:lnTo>
                    <a:lnTo>
                      <a:pt x="581" y="1693"/>
                    </a:lnTo>
                    <a:lnTo>
                      <a:pt x="568" y="1677"/>
                    </a:lnTo>
                    <a:lnTo>
                      <a:pt x="556" y="1660"/>
                    </a:lnTo>
                    <a:lnTo>
                      <a:pt x="547" y="1642"/>
                    </a:lnTo>
                    <a:lnTo>
                      <a:pt x="538" y="1621"/>
                    </a:lnTo>
                    <a:lnTo>
                      <a:pt x="530" y="1601"/>
                    </a:lnTo>
                    <a:lnTo>
                      <a:pt x="524" y="1578"/>
                    </a:lnTo>
                    <a:lnTo>
                      <a:pt x="519" y="1554"/>
                    </a:lnTo>
                    <a:lnTo>
                      <a:pt x="514" y="1531"/>
                    </a:lnTo>
                    <a:lnTo>
                      <a:pt x="512" y="1505"/>
                    </a:lnTo>
                    <a:lnTo>
                      <a:pt x="510" y="1478"/>
                    </a:lnTo>
                    <a:lnTo>
                      <a:pt x="509" y="1450"/>
                    </a:lnTo>
                    <a:lnTo>
                      <a:pt x="510" y="1422"/>
                    </a:lnTo>
                    <a:lnTo>
                      <a:pt x="511" y="1391"/>
                    </a:lnTo>
                    <a:lnTo>
                      <a:pt x="513" y="1361"/>
                    </a:lnTo>
                    <a:lnTo>
                      <a:pt x="517" y="1330"/>
                    </a:lnTo>
                    <a:lnTo>
                      <a:pt x="522" y="1297"/>
                    </a:lnTo>
                    <a:lnTo>
                      <a:pt x="527" y="1264"/>
                    </a:lnTo>
                    <a:lnTo>
                      <a:pt x="533" y="1231"/>
                    </a:lnTo>
                    <a:lnTo>
                      <a:pt x="540" y="1196"/>
                    </a:lnTo>
                    <a:lnTo>
                      <a:pt x="548" y="1161"/>
                    </a:lnTo>
                    <a:lnTo>
                      <a:pt x="556" y="1126"/>
                    </a:lnTo>
                    <a:lnTo>
                      <a:pt x="566" y="1090"/>
                    </a:lnTo>
                    <a:lnTo>
                      <a:pt x="576" y="1053"/>
                    </a:lnTo>
                    <a:close/>
                  </a:path>
                </a:pathLst>
              </a:custGeom>
              <a:solidFill>
                <a:srgbClr val="8587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40" name="Freeform 173">
                <a:extLst>
                  <a:ext uri="{FF2B5EF4-FFF2-40B4-BE49-F238E27FC236}">
                    <a16:creationId xmlns:a16="http://schemas.microsoft.com/office/drawing/2014/main" id="{2B3A03C7-F1D8-49E3-97B6-0F29E2DF06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62079" y="2414454"/>
                <a:ext cx="210181" cy="223191"/>
              </a:xfrm>
              <a:custGeom>
                <a:avLst/>
                <a:gdLst>
                  <a:gd name="T0" fmla="*/ 0 w 1991"/>
                  <a:gd name="T1" fmla="*/ 0 h 2107"/>
                  <a:gd name="T2" fmla="*/ 0 w 1991"/>
                  <a:gd name="T3" fmla="*/ 0 h 2107"/>
                  <a:gd name="T4" fmla="*/ 0 w 1991"/>
                  <a:gd name="T5" fmla="*/ 0 h 2107"/>
                  <a:gd name="T6" fmla="*/ 0 w 1991"/>
                  <a:gd name="T7" fmla="*/ 0 h 2107"/>
                  <a:gd name="T8" fmla="*/ 0 w 1991"/>
                  <a:gd name="T9" fmla="*/ 0 h 2107"/>
                  <a:gd name="T10" fmla="*/ 0 w 1991"/>
                  <a:gd name="T11" fmla="*/ 0 h 2107"/>
                  <a:gd name="T12" fmla="*/ 0 w 1991"/>
                  <a:gd name="T13" fmla="*/ 0 h 2107"/>
                  <a:gd name="T14" fmla="*/ 0 w 1991"/>
                  <a:gd name="T15" fmla="*/ 0 h 2107"/>
                  <a:gd name="T16" fmla="*/ 0 w 1991"/>
                  <a:gd name="T17" fmla="*/ 0 h 2107"/>
                  <a:gd name="T18" fmla="*/ 0 w 1991"/>
                  <a:gd name="T19" fmla="*/ 0 h 2107"/>
                  <a:gd name="T20" fmla="*/ 0 w 1991"/>
                  <a:gd name="T21" fmla="*/ 0 h 2107"/>
                  <a:gd name="T22" fmla="*/ 0 w 1991"/>
                  <a:gd name="T23" fmla="*/ 0 h 2107"/>
                  <a:gd name="T24" fmla="*/ 0 w 1991"/>
                  <a:gd name="T25" fmla="*/ 0 h 2107"/>
                  <a:gd name="T26" fmla="*/ 0 w 1991"/>
                  <a:gd name="T27" fmla="*/ 0 h 2107"/>
                  <a:gd name="T28" fmla="*/ 0 w 1991"/>
                  <a:gd name="T29" fmla="*/ 0 h 2107"/>
                  <a:gd name="T30" fmla="*/ 0 w 1991"/>
                  <a:gd name="T31" fmla="*/ 0 h 2107"/>
                  <a:gd name="T32" fmla="*/ 0 w 1991"/>
                  <a:gd name="T33" fmla="*/ 0 h 2107"/>
                  <a:gd name="T34" fmla="*/ 0 w 1991"/>
                  <a:gd name="T35" fmla="*/ 0 h 2107"/>
                  <a:gd name="T36" fmla="*/ 0 w 1991"/>
                  <a:gd name="T37" fmla="*/ 0 h 2107"/>
                  <a:gd name="T38" fmla="*/ 0 w 1991"/>
                  <a:gd name="T39" fmla="*/ 0 h 2107"/>
                  <a:gd name="T40" fmla="*/ 0 w 1991"/>
                  <a:gd name="T41" fmla="*/ 0 h 2107"/>
                  <a:gd name="T42" fmla="*/ 0 w 1991"/>
                  <a:gd name="T43" fmla="*/ 0 h 2107"/>
                  <a:gd name="T44" fmla="*/ 0 w 1991"/>
                  <a:gd name="T45" fmla="*/ 0 h 2107"/>
                  <a:gd name="T46" fmla="*/ 0 w 1991"/>
                  <a:gd name="T47" fmla="*/ 0 h 2107"/>
                  <a:gd name="T48" fmla="*/ 0 w 1991"/>
                  <a:gd name="T49" fmla="*/ 0 h 2107"/>
                  <a:gd name="T50" fmla="*/ 0 w 1991"/>
                  <a:gd name="T51" fmla="*/ 0 h 2107"/>
                  <a:gd name="T52" fmla="*/ 0 w 1991"/>
                  <a:gd name="T53" fmla="*/ 0 h 2107"/>
                  <a:gd name="T54" fmla="*/ 0 w 1991"/>
                  <a:gd name="T55" fmla="*/ 0 h 2107"/>
                  <a:gd name="T56" fmla="*/ 0 w 1991"/>
                  <a:gd name="T57" fmla="*/ 0 h 2107"/>
                  <a:gd name="T58" fmla="*/ 0 w 1991"/>
                  <a:gd name="T59" fmla="*/ 0 h 2107"/>
                  <a:gd name="T60" fmla="*/ 0 w 1991"/>
                  <a:gd name="T61" fmla="*/ 0 h 2107"/>
                  <a:gd name="T62" fmla="*/ 0 w 1991"/>
                  <a:gd name="T63" fmla="*/ 0 h 2107"/>
                  <a:gd name="T64" fmla="*/ 0 w 1991"/>
                  <a:gd name="T65" fmla="*/ 0 h 2107"/>
                  <a:gd name="T66" fmla="*/ 0 w 1991"/>
                  <a:gd name="T67" fmla="*/ 0 h 2107"/>
                  <a:gd name="T68" fmla="*/ 0 w 1991"/>
                  <a:gd name="T69" fmla="*/ 0 h 2107"/>
                  <a:gd name="T70" fmla="*/ 0 w 1991"/>
                  <a:gd name="T71" fmla="*/ 0 h 2107"/>
                  <a:gd name="T72" fmla="*/ 0 w 1991"/>
                  <a:gd name="T73" fmla="*/ 0 h 2107"/>
                  <a:gd name="T74" fmla="*/ 0 w 1991"/>
                  <a:gd name="T75" fmla="*/ 0 h 2107"/>
                  <a:gd name="T76" fmla="*/ 0 w 1991"/>
                  <a:gd name="T77" fmla="*/ 0 h 2107"/>
                  <a:gd name="T78" fmla="*/ 0 w 1991"/>
                  <a:gd name="T79" fmla="*/ 0 h 2107"/>
                  <a:gd name="T80" fmla="*/ 0 w 1991"/>
                  <a:gd name="T81" fmla="*/ 0 h 2107"/>
                  <a:gd name="T82" fmla="*/ 0 w 1991"/>
                  <a:gd name="T83" fmla="*/ 0 h 2107"/>
                  <a:gd name="T84" fmla="*/ 0 w 1991"/>
                  <a:gd name="T85" fmla="*/ 0 h 2107"/>
                  <a:gd name="T86" fmla="*/ 0 w 1991"/>
                  <a:gd name="T87" fmla="*/ 0 h 2107"/>
                  <a:gd name="T88" fmla="*/ 0 w 1991"/>
                  <a:gd name="T89" fmla="*/ 0 h 2107"/>
                  <a:gd name="T90" fmla="*/ 0 w 1991"/>
                  <a:gd name="T91" fmla="*/ 0 h 2107"/>
                  <a:gd name="T92" fmla="*/ 0 w 1991"/>
                  <a:gd name="T93" fmla="*/ 0 h 2107"/>
                  <a:gd name="T94" fmla="*/ 0 w 1991"/>
                  <a:gd name="T95" fmla="*/ 0 h 2107"/>
                  <a:gd name="T96" fmla="*/ 0 w 1991"/>
                  <a:gd name="T97" fmla="*/ 0 h 2107"/>
                  <a:gd name="T98" fmla="*/ 0 w 1991"/>
                  <a:gd name="T99" fmla="*/ 0 h 2107"/>
                  <a:gd name="T100" fmla="*/ 0 w 1991"/>
                  <a:gd name="T101" fmla="*/ 0 h 2107"/>
                  <a:gd name="T102" fmla="*/ 0 w 1991"/>
                  <a:gd name="T103" fmla="*/ 0 h 2107"/>
                  <a:gd name="T104" fmla="*/ 0 w 1991"/>
                  <a:gd name="T105" fmla="*/ 0 h 2107"/>
                  <a:gd name="T106" fmla="*/ 0 w 1991"/>
                  <a:gd name="T107" fmla="*/ 0 h 2107"/>
                  <a:gd name="T108" fmla="*/ 0 w 1991"/>
                  <a:gd name="T109" fmla="*/ 0 h 2107"/>
                  <a:gd name="T110" fmla="*/ 0 w 1991"/>
                  <a:gd name="T111" fmla="*/ 0 h 2107"/>
                  <a:gd name="T112" fmla="*/ 0 w 1991"/>
                  <a:gd name="T113" fmla="*/ 0 h 2107"/>
                  <a:gd name="T114" fmla="*/ 0 w 1991"/>
                  <a:gd name="T115" fmla="*/ 0 h 2107"/>
                  <a:gd name="T116" fmla="*/ 0 w 1991"/>
                  <a:gd name="T117" fmla="*/ 0 h 2107"/>
                  <a:gd name="T118" fmla="*/ 0 w 1991"/>
                  <a:gd name="T119" fmla="*/ 0 h 2107"/>
                  <a:gd name="T120" fmla="*/ 0 w 1991"/>
                  <a:gd name="T121" fmla="*/ 0 h 2107"/>
                  <a:gd name="T122" fmla="*/ 0 w 1991"/>
                  <a:gd name="T123" fmla="*/ 0 h 210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991" h="2107">
                    <a:moveTo>
                      <a:pt x="968" y="1249"/>
                    </a:moveTo>
                    <a:lnTo>
                      <a:pt x="1247" y="1249"/>
                    </a:lnTo>
                    <a:lnTo>
                      <a:pt x="1115" y="1711"/>
                    </a:lnTo>
                    <a:lnTo>
                      <a:pt x="1097" y="1717"/>
                    </a:lnTo>
                    <a:lnTo>
                      <a:pt x="1076" y="1724"/>
                    </a:lnTo>
                    <a:lnTo>
                      <a:pt x="1056" y="1728"/>
                    </a:lnTo>
                    <a:lnTo>
                      <a:pt x="1033" y="1732"/>
                    </a:lnTo>
                    <a:lnTo>
                      <a:pt x="1010" y="1736"/>
                    </a:lnTo>
                    <a:lnTo>
                      <a:pt x="985" y="1738"/>
                    </a:lnTo>
                    <a:lnTo>
                      <a:pt x="961" y="1739"/>
                    </a:lnTo>
                    <a:lnTo>
                      <a:pt x="934" y="1740"/>
                    </a:lnTo>
                    <a:lnTo>
                      <a:pt x="899" y="1739"/>
                    </a:lnTo>
                    <a:lnTo>
                      <a:pt x="866" y="1736"/>
                    </a:lnTo>
                    <a:lnTo>
                      <a:pt x="834" y="1731"/>
                    </a:lnTo>
                    <a:lnTo>
                      <a:pt x="804" y="1726"/>
                    </a:lnTo>
                    <a:lnTo>
                      <a:pt x="776" y="1718"/>
                    </a:lnTo>
                    <a:lnTo>
                      <a:pt x="749" y="1710"/>
                    </a:lnTo>
                    <a:lnTo>
                      <a:pt x="724" y="1699"/>
                    </a:lnTo>
                    <a:lnTo>
                      <a:pt x="700" y="1687"/>
                    </a:lnTo>
                    <a:lnTo>
                      <a:pt x="679" y="1674"/>
                    </a:lnTo>
                    <a:lnTo>
                      <a:pt x="658" y="1659"/>
                    </a:lnTo>
                    <a:lnTo>
                      <a:pt x="639" y="1643"/>
                    </a:lnTo>
                    <a:lnTo>
                      <a:pt x="622" y="1626"/>
                    </a:lnTo>
                    <a:lnTo>
                      <a:pt x="605" y="1606"/>
                    </a:lnTo>
                    <a:lnTo>
                      <a:pt x="591" y="1587"/>
                    </a:lnTo>
                    <a:lnTo>
                      <a:pt x="578" y="1565"/>
                    </a:lnTo>
                    <a:lnTo>
                      <a:pt x="567" y="1544"/>
                    </a:lnTo>
                    <a:lnTo>
                      <a:pt x="557" y="1520"/>
                    </a:lnTo>
                    <a:lnTo>
                      <a:pt x="547" y="1495"/>
                    </a:lnTo>
                    <a:lnTo>
                      <a:pt x="541" y="1470"/>
                    </a:lnTo>
                    <a:lnTo>
                      <a:pt x="534" y="1443"/>
                    </a:lnTo>
                    <a:lnTo>
                      <a:pt x="530" y="1416"/>
                    </a:lnTo>
                    <a:lnTo>
                      <a:pt x="527" y="1387"/>
                    </a:lnTo>
                    <a:lnTo>
                      <a:pt x="524" y="1358"/>
                    </a:lnTo>
                    <a:lnTo>
                      <a:pt x="524" y="1328"/>
                    </a:lnTo>
                    <a:lnTo>
                      <a:pt x="524" y="1297"/>
                    </a:lnTo>
                    <a:lnTo>
                      <a:pt x="527" y="1266"/>
                    </a:lnTo>
                    <a:lnTo>
                      <a:pt x="530" y="1234"/>
                    </a:lnTo>
                    <a:lnTo>
                      <a:pt x="535" y="1200"/>
                    </a:lnTo>
                    <a:lnTo>
                      <a:pt x="541" y="1167"/>
                    </a:lnTo>
                    <a:lnTo>
                      <a:pt x="548" y="1132"/>
                    </a:lnTo>
                    <a:lnTo>
                      <a:pt x="557" y="1098"/>
                    </a:lnTo>
                    <a:lnTo>
                      <a:pt x="565" y="1062"/>
                    </a:lnTo>
                    <a:lnTo>
                      <a:pt x="573" y="1041"/>
                    </a:lnTo>
                    <a:lnTo>
                      <a:pt x="581" y="1017"/>
                    </a:lnTo>
                    <a:lnTo>
                      <a:pt x="589" y="992"/>
                    </a:lnTo>
                    <a:lnTo>
                      <a:pt x="599" y="966"/>
                    </a:lnTo>
                    <a:lnTo>
                      <a:pt x="610" y="940"/>
                    </a:lnTo>
                    <a:lnTo>
                      <a:pt x="622" y="912"/>
                    </a:lnTo>
                    <a:lnTo>
                      <a:pt x="635" y="885"/>
                    </a:lnTo>
                    <a:lnTo>
                      <a:pt x="650" y="857"/>
                    </a:lnTo>
                    <a:lnTo>
                      <a:pt x="665" y="828"/>
                    </a:lnTo>
                    <a:lnTo>
                      <a:pt x="681" y="799"/>
                    </a:lnTo>
                    <a:lnTo>
                      <a:pt x="699" y="770"/>
                    </a:lnTo>
                    <a:lnTo>
                      <a:pt x="719" y="742"/>
                    </a:lnTo>
                    <a:lnTo>
                      <a:pt x="738" y="712"/>
                    </a:lnTo>
                    <a:lnTo>
                      <a:pt x="760" y="684"/>
                    </a:lnTo>
                    <a:lnTo>
                      <a:pt x="784" y="656"/>
                    </a:lnTo>
                    <a:lnTo>
                      <a:pt x="807" y="628"/>
                    </a:lnTo>
                    <a:lnTo>
                      <a:pt x="833" y="601"/>
                    </a:lnTo>
                    <a:lnTo>
                      <a:pt x="860" y="575"/>
                    </a:lnTo>
                    <a:lnTo>
                      <a:pt x="888" y="550"/>
                    </a:lnTo>
                    <a:lnTo>
                      <a:pt x="918" y="527"/>
                    </a:lnTo>
                    <a:lnTo>
                      <a:pt x="950" y="504"/>
                    </a:lnTo>
                    <a:lnTo>
                      <a:pt x="982" y="482"/>
                    </a:lnTo>
                    <a:lnTo>
                      <a:pt x="1017" y="462"/>
                    </a:lnTo>
                    <a:lnTo>
                      <a:pt x="1052" y="444"/>
                    </a:lnTo>
                    <a:lnTo>
                      <a:pt x="1089" y="427"/>
                    </a:lnTo>
                    <a:lnTo>
                      <a:pt x="1128" y="412"/>
                    </a:lnTo>
                    <a:lnTo>
                      <a:pt x="1168" y="399"/>
                    </a:lnTo>
                    <a:lnTo>
                      <a:pt x="1210" y="389"/>
                    </a:lnTo>
                    <a:lnTo>
                      <a:pt x="1253" y="379"/>
                    </a:lnTo>
                    <a:lnTo>
                      <a:pt x="1298" y="373"/>
                    </a:lnTo>
                    <a:lnTo>
                      <a:pt x="1345" y="369"/>
                    </a:lnTo>
                    <a:lnTo>
                      <a:pt x="1393" y="368"/>
                    </a:lnTo>
                    <a:lnTo>
                      <a:pt x="1433" y="368"/>
                    </a:lnTo>
                    <a:lnTo>
                      <a:pt x="1472" y="370"/>
                    </a:lnTo>
                    <a:lnTo>
                      <a:pt x="1509" y="374"/>
                    </a:lnTo>
                    <a:lnTo>
                      <a:pt x="1543" y="379"/>
                    </a:lnTo>
                    <a:lnTo>
                      <a:pt x="1577" y="384"/>
                    </a:lnTo>
                    <a:lnTo>
                      <a:pt x="1608" y="392"/>
                    </a:lnTo>
                    <a:lnTo>
                      <a:pt x="1638" y="399"/>
                    </a:lnTo>
                    <a:lnTo>
                      <a:pt x="1668" y="407"/>
                    </a:lnTo>
                    <a:lnTo>
                      <a:pt x="1695" y="416"/>
                    </a:lnTo>
                    <a:lnTo>
                      <a:pt x="1720" y="425"/>
                    </a:lnTo>
                    <a:lnTo>
                      <a:pt x="1744" y="434"/>
                    </a:lnTo>
                    <a:lnTo>
                      <a:pt x="1768" y="444"/>
                    </a:lnTo>
                    <a:lnTo>
                      <a:pt x="1810" y="463"/>
                    </a:lnTo>
                    <a:lnTo>
                      <a:pt x="1847" y="481"/>
                    </a:lnTo>
                    <a:lnTo>
                      <a:pt x="1991" y="82"/>
                    </a:lnTo>
                    <a:lnTo>
                      <a:pt x="1945" y="68"/>
                    </a:lnTo>
                    <a:lnTo>
                      <a:pt x="1894" y="54"/>
                    </a:lnTo>
                    <a:lnTo>
                      <a:pt x="1866" y="47"/>
                    </a:lnTo>
                    <a:lnTo>
                      <a:pt x="1837" y="40"/>
                    </a:lnTo>
                    <a:lnTo>
                      <a:pt x="1807" y="33"/>
                    </a:lnTo>
                    <a:lnTo>
                      <a:pt x="1774" y="28"/>
                    </a:lnTo>
                    <a:lnTo>
                      <a:pt x="1741" y="21"/>
                    </a:lnTo>
                    <a:lnTo>
                      <a:pt x="1706" y="16"/>
                    </a:lnTo>
                    <a:lnTo>
                      <a:pt x="1670" y="12"/>
                    </a:lnTo>
                    <a:lnTo>
                      <a:pt x="1631" y="7"/>
                    </a:lnTo>
                    <a:lnTo>
                      <a:pt x="1591" y="4"/>
                    </a:lnTo>
                    <a:lnTo>
                      <a:pt x="1549" y="2"/>
                    </a:lnTo>
                    <a:lnTo>
                      <a:pt x="1506" y="0"/>
                    </a:lnTo>
                    <a:lnTo>
                      <a:pt x="1459" y="0"/>
                    </a:lnTo>
                    <a:lnTo>
                      <a:pt x="1385" y="1"/>
                    </a:lnTo>
                    <a:lnTo>
                      <a:pt x="1312" y="6"/>
                    </a:lnTo>
                    <a:lnTo>
                      <a:pt x="1242" y="14"/>
                    </a:lnTo>
                    <a:lnTo>
                      <a:pt x="1173" y="24"/>
                    </a:lnTo>
                    <a:lnTo>
                      <a:pt x="1107" y="38"/>
                    </a:lnTo>
                    <a:lnTo>
                      <a:pt x="1043" y="53"/>
                    </a:lnTo>
                    <a:lnTo>
                      <a:pt x="981" y="71"/>
                    </a:lnTo>
                    <a:lnTo>
                      <a:pt x="921" y="93"/>
                    </a:lnTo>
                    <a:lnTo>
                      <a:pt x="862" y="115"/>
                    </a:lnTo>
                    <a:lnTo>
                      <a:pt x="806" y="141"/>
                    </a:lnTo>
                    <a:lnTo>
                      <a:pt x="752" y="168"/>
                    </a:lnTo>
                    <a:lnTo>
                      <a:pt x="700" y="197"/>
                    </a:lnTo>
                    <a:lnTo>
                      <a:pt x="650" y="229"/>
                    </a:lnTo>
                    <a:lnTo>
                      <a:pt x="602" y="262"/>
                    </a:lnTo>
                    <a:lnTo>
                      <a:pt x="556" y="297"/>
                    </a:lnTo>
                    <a:lnTo>
                      <a:pt x="512" y="333"/>
                    </a:lnTo>
                    <a:lnTo>
                      <a:pt x="469" y="371"/>
                    </a:lnTo>
                    <a:lnTo>
                      <a:pt x="428" y="411"/>
                    </a:lnTo>
                    <a:lnTo>
                      <a:pt x="391" y="451"/>
                    </a:lnTo>
                    <a:lnTo>
                      <a:pt x="354" y="493"/>
                    </a:lnTo>
                    <a:lnTo>
                      <a:pt x="319" y="535"/>
                    </a:lnTo>
                    <a:lnTo>
                      <a:pt x="287" y="579"/>
                    </a:lnTo>
                    <a:lnTo>
                      <a:pt x="256" y="624"/>
                    </a:lnTo>
                    <a:lnTo>
                      <a:pt x="227" y="668"/>
                    </a:lnTo>
                    <a:lnTo>
                      <a:pt x="200" y="715"/>
                    </a:lnTo>
                    <a:lnTo>
                      <a:pt x="175" y="760"/>
                    </a:lnTo>
                    <a:lnTo>
                      <a:pt x="151" y="807"/>
                    </a:lnTo>
                    <a:lnTo>
                      <a:pt x="129" y="854"/>
                    </a:lnTo>
                    <a:lnTo>
                      <a:pt x="110" y="901"/>
                    </a:lnTo>
                    <a:lnTo>
                      <a:pt x="92" y="948"/>
                    </a:lnTo>
                    <a:lnTo>
                      <a:pt x="75" y="995"/>
                    </a:lnTo>
                    <a:lnTo>
                      <a:pt x="61" y="1042"/>
                    </a:lnTo>
                    <a:lnTo>
                      <a:pt x="41" y="1121"/>
                    </a:lnTo>
                    <a:lnTo>
                      <a:pt x="24" y="1198"/>
                    </a:lnTo>
                    <a:lnTo>
                      <a:pt x="12" y="1269"/>
                    </a:lnTo>
                    <a:lnTo>
                      <a:pt x="4" y="1338"/>
                    </a:lnTo>
                    <a:lnTo>
                      <a:pt x="0" y="1403"/>
                    </a:lnTo>
                    <a:lnTo>
                      <a:pt x="0" y="1465"/>
                    </a:lnTo>
                    <a:lnTo>
                      <a:pt x="3" y="1522"/>
                    </a:lnTo>
                    <a:lnTo>
                      <a:pt x="11" y="1577"/>
                    </a:lnTo>
                    <a:lnTo>
                      <a:pt x="21" y="1628"/>
                    </a:lnTo>
                    <a:lnTo>
                      <a:pt x="34" y="1675"/>
                    </a:lnTo>
                    <a:lnTo>
                      <a:pt x="52" y="1721"/>
                    </a:lnTo>
                    <a:lnTo>
                      <a:pt x="71" y="1763"/>
                    </a:lnTo>
                    <a:lnTo>
                      <a:pt x="93" y="1802"/>
                    </a:lnTo>
                    <a:lnTo>
                      <a:pt x="118" y="1837"/>
                    </a:lnTo>
                    <a:lnTo>
                      <a:pt x="143" y="1871"/>
                    </a:lnTo>
                    <a:lnTo>
                      <a:pt x="173" y="1902"/>
                    </a:lnTo>
                    <a:lnTo>
                      <a:pt x="203" y="1930"/>
                    </a:lnTo>
                    <a:lnTo>
                      <a:pt x="235" y="1956"/>
                    </a:lnTo>
                    <a:lnTo>
                      <a:pt x="270" y="1980"/>
                    </a:lnTo>
                    <a:lnTo>
                      <a:pt x="304" y="2000"/>
                    </a:lnTo>
                    <a:lnTo>
                      <a:pt x="341" y="2020"/>
                    </a:lnTo>
                    <a:lnTo>
                      <a:pt x="379" y="2036"/>
                    </a:lnTo>
                    <a:lnTo>
                      <a:pt x="417" y="2051"/>
                    </a:lnTo>
                    <a:lnTo>
                      <a:pt x="455" y="2064"/>
                    </a:lnTo>
                    <a:lnTo>
                      <a:pt x="494" y="2075"/>
                    </a:lnTo>
                    <a:lnTo>
                      <a:pt x="534" y="2083"/>
                    </a:lnTo>
                    <a:lnTo>
                      <a:pt x="574" y="2091"/>
                    </a:lnTo>
                    <a:lnTo>
                      <a:pt x="613" y="2097"/>
                    </a:lnTo>
                    <a:lnTo>
                      <a:pt x="653" y="2102"/>
                    </a:lnTo>
                    <a:lnTo>
                      <a:pt x="692" y="2105"/>
                    </a:lnTo>
                    <a:lnTo>
                      <a:pt x="730" y="2107"/>
                    </a:lnTo>
                    <a:lnTo>
                      <a:pt x="767" y="2107"/>
                    </a:lnTo>
                    <a:lnTo>
                      <a:pt x="830" y="2107"/>
                    </a:lnTo>
                    <a:lnTo>
                      <a:pt x="891" y="2105"/>
                    </a:lnTo>
                    <a:lnTo>
                      <a:pt x="950" y="2102"/>
                    </a:lnTo>
                    <a:lnTo>
                      <a:pt x="1007" y="2097"/>
                    </a:lnTo>
                    <a:lnTo>
                      <a:pt x="1062" y="2092"/>
                    </a:lnTo>
                    <a:lnTo>
                      <a:pt x="1115" y="2087"/>
                    </a:lnTo>
                    <a:lnTo>
                      <a:pt x="1166" y="2079"/>
                    </a:lnTo>
                    <a:lnTo>
                      <a:pt x="1213" y="2071"/>
                    </a:lnTo>
                    <a:lnTo>
                      <a:pt x="1258" y="2064"/>
                    </a:lnTo>
                    <a:lnTo>
                      <a:pt x="1302" y="2055"/>
                    </a:lnTo>
                    <a:lnTo>
                      <a:pt x="1343" y="2047"/>
                    </a:lnTo>
                    <a:lnTo>
                      <a:pt x="1379" y="2037"/>
                    </a:lnTo>
                    <a:lnTo>
                      <a:pt x="1414" y="2027"/>
                    </a:lnTo>
                    <a:lnTo>
                      <a:pt x="1445" y="2019"/>
                    </a:lnTo>
                    <a:lnTo>
                      <a:pt x="1474" y="2009"/>
                    </a:lnTo>
                    <a:lnTo>
                      <a:pt x="1499" y="1999"/>
                    </a:lnTo>
                    <a:lnTo>
                      <a:pt x="1813" y="905"/>
                    </a:lnTo>
                    <a:lnTo>
                      <a:pt x="1066" y="905"/>
                    </a:lnTo>
                    <a:lnTo>
                      <a:pt x="968" y="1249"/>
                    </a:lnTo>
                    <a:close/>
                  </a:path>
                </a:pathLst>
              </a:custGeom>
              <a:solidFill>
                <a:srgbClr val="007C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41" name="Freeform 174">
                <a:extLst>
                  <a:ext uri="{FF2B5EF4-FFF2-40B4-BE49-F238E27FC236}">
                    <a16:creationId xmlns:a16="http://schemas.microsoft.com/office/drawing/2014/main" id="{2D7F3979-624B-4D1A-8514-7D8B2A46FA4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33316" y="2418685"/>
                <a:ext cx="198563" cy="215787"/>
              </a:xfrm>
              <a:custGeom>
                <a:avLst/>
                <a:gdLst>
                  <a:gd name="T0" fmla="*/ 0 w 1883"/>
                  <a:gd name="T1" fmla="*/ 0 h 2039"/>
                  <a:gd name="T2" fmla="*/ 0 w 1883"/>
                  <a:gd name="T3" fmla="*/ 0 h 2039"/>
                  <a:gd name="T4" fmla="*/ 0 w 1883"/>
                  <a:gd name="T5" fmla="*/ 0 h 2039"/>
                  <a:gd name="T6" fmla="*/ 0 w 1883"/>
                  <a:gd name="T7" fmla="*/ 0 h 2039"/>
                  <a:gd name="T8" fmla="*/ 0 w 1883"/>
                  <a:gd name="T9" fmla="*/ 0 h 2039"/>
                  <a:gd name="T10" fmla="*/ 0 w 1883"/>
                  <a:gd name="T11" fmla="*/ 0 h 2039"/>
                  <a:gd name="T12" fmla="*/ 0 w 1883"/>
                  <a:gd name="T13" fmla="*/ 0 h 2039"/>
                  <a:gd name="T14" fmla="*/ 0 w 1883"/>
                  <a:gd name="T15" fmla="*/ 0 h 2039"/>
                  <a:gd name="T16" fmla="*/ 0 w 1883"/>
                  <a:gd name="T17" fmla="*/ 0 h 2039"/>
                  <a:gd name="T18" fmla="*/ 0 w 1883"/>
                  <a:gd name="T19" fmla="*/ 0 h 2039"/>
                  <a:gd name="T20" fmla="*/ 0 w 1883"/>
                  <a:gd name="T21" fmla="*/ 0 h 2039"/>
                  <a:gd name="T22" fmla="*/ 0 w 1883"/>
                  <a:gd name="T23" fmla="*/ 0 h 2039"/>
                  <a:gd name="T24" fmla="*/ 0 w 1883"/>
                  <a:gd name="T25" fmla="*/ 0 h 2039"/>
                  <a:gd name="T26" fmla="*/ 0 w 1883"/>
                  <a:gd name="T27" fmla="*/ 0 h 2039"/>
                  <a:gd name="T28" fmla="*/ 0 w 1883"/>
                  <a:gd name="T29" fmla="*/ 0 h 2039"/>
                  <a:gd name="T30" fmla="*/ 0 w 1883"/>
                  <a:gd name="T31" fmla="*/ 0 h 2039"/>
                  <a:gd name="T32" fmla="*/ 0 w 1883"/>
                  <a:gd name="T33" fmla="*/ 0 h 2039"/>
                  <a:gd name="T34" fmla="*/ 0 w 1883"/>
                  <a:gd name="T35" fmla="*/ 0 h 2039"/>
                  <a:gd name="T36" fmla="*/ 0 w 1883"/>
                  <a:gd name="T37" fmla="*/ 0 h 2039"/>
                  <a:gd name="T38" fmla="*/ 0 w 1883"/>
                  <a:gd name="T39" fmla="*/ 0 h 2039"/>
                  <a:gd name="T40" fmla="*/ 0 w 1883"/>
                  <a:gd name="T41" fmla="*/ 0 h 2039"/>
                  <a:gd name="T42" fmla="*/ 0 w 1883"/>
                  <a:gd name="T43" fmla="*/ 0 h 2039"/>
                  <a:gd name="T44" fmla="*/ 0 w 1883"/>
                  <a:gd name="T45" fmla="*/ 0 h 2039"/>
                  <a:gd name="T46" fmla="*/ 0 w 1883"/>
                  <a:gd name="T47" fmla="*/ 0 h 2039"/>
                  <a:gd name="T48" fmla="*/ 0 w 1883"/>
                  <a:gd name="T49" fmla="*/ 0 h 2039"/>
                  <a:gd name="T50" fmla="*/ 0 w 1883"/>
                  <a:gd name="T51" fmla="*/ 0 h 2039"/>
                  <a:gd name="T52" fmla="*/ 0 w 1883"/>
                  <a:gd name="T53" fmla="*/ 0 h 2039"/>
                  <a:gd name="T54" fmla="*/ 0 w 1883"/>
                  <a:gd name="T55" fmla="*/ 0 h 2039"/>
                  <a:gd name="T56" fmla="*/ 0 w 1883"/>
                  <a:gd name="T57" fmla="*/ 0 h 2039"/>
                  <a:gd name="T58" fmla="*/ 0 w 1883"/>
                  <a:gd name="T59" fmla="*/ 0 h 2039"/>
                  <a:gd name="T60" fmla="*/ 0 w 1883"/>
                  <a:gd name="T61" fmla="*/ 0 h 2039"/>
                  <a:gd name="T62" fmla="*/ 0 w 1883"/>
                  <a:gd name="T63" fmla="*/ 0 h 2039"/>
                  <a:gd name="T64" fmla="*/ 0 w 1883"/>
                  <a:gd name="T65" fmla="*/ 0 h 2039"/>
                  <a:gd name="T66" fmla="*/ 0 w 1883"/>
                  <a:gd name="T67" fmla="*/ 0 h 2039"/>
                  <a:gd name="T68" fmla="*/ 0 w 1883"/>
                  <a:gd name="T69" fmla="*/ 0 h 2039"/>
                  <a:gd name="T70" fmla="*/ 0 w 1883"/>
                  <a:gd name="T71" fmla="*/ 0 h 2039"/>
                  <a:gd name="T72" fmla="*/ 0 w 1883"/>
                  <a:gd name="T73" fmla="*/ 0 h 2039"/>
                  <a:gd name="T74" fmla="*/ 0 w 1883"/>
                  <a:gd name="T75" fmla="*/ 0 h 2039"/>
                  <a:gd name="T76" fmla="*/ 0 w 1883"/>
                  <a:gd name="T77" fmla="*/ 0 h 2039"/>
                  <a:gd name="T78" fmla="*/ 0 w 1883"/>
                  <a:gd name="T79" fmla="*/ 0 h 2039"/>
                  <a:gd name="T80" fmla="*/ 0 w 1883"/>
                  <a:gd name="T81" fmla="*/ 0 h 2039"/>
                  <a:gd name="T82" fmla="*/ 0 w 1883"/>
                  <a:gd name="T83" fmla="*/ 0 h 2039"/>
                  <a:gd name="T84" fmla="*/ 0 w 1883"/>
                  <a:gd name="T85" fmla="*/ 0 h 2039"/>
                  <a:gd name="T86" fmla="*/ 0 w 1883"/>
                  <a:gd name="T87" fmla="*/ 0 h 2039"/>
                  <a:gd name="T88" fmla="*/ 0 w 1883"/>
                  <a:gd name="T89" fmla="*/ 0 h 2039"/>
                  <a:gd name="T90" fmla="*/ 0 w 1883"/>
                  <a:gd name="T91" fmla="*/ 0 h 2039"/>
                  <a:gd name="T92" fmla="*/ 0 w 1883"/>
                  <a:gd name="T93" fmla="*/ 0 h 2039"/>
                  <a:gd name="T94" fmla="*/ 0 w 1883"/>
                  <a:gd name="T95" fmla="*/ 0 h 2039"/>
                  <a:gd name="T96" fmla="*/ 0 w 1883"/>
                  <a:gd name="T97" fmla="*/ 0 h 2039"/>
                  <a:gd name="T98" fmla="*/ 0 w 1883"/>
                  <a:gd name="T99" fmla="*/ 0 h 2039"/>
                  <a:gd name="T100" fmla="*/ 0 w 1883"/>
                  <a:gd name="T101" fmla="*/ 0 h 2039"/>
                  <a:gd name="T102" fmla="*/ 0 w 1883"/>
                  <a:gd name="T103" fmla="*/ 0 h 2039"/>
                  <a:gd name="T104" fmla="*/ 0 w 1883"/>
                  <a:gd name="T105" fmla="*/ 0 h 2039"/>
                  <a:gd name="T106" fmla="*/ 0 w 1883"/>
                  <a:gd name="T107" fmla="*/ 0 h 2039"/>
                  <a:gd name="T108" fmla="*/ 0 w 1883"/>
                  <a:gd name="T109" fmla="*/ 0 h 2039"/>
                  <a:gd name="T110" fmla="*/ 0 w 1883"/>
                  <a:gd name="T111" fmla="*/ 0 h 2039"/>
                  <a:gd name="T112" fmla="*/ 0 w 1883"/>
                  <a:gd name="T113" fmla="*/ 0 h 2039"/>
                  <a:gd name="T114" fmla="*/ 0 w 1883"/>
                  <a:gd name="T115" fmla="*/ 0 h 2039"/>
                  <a:gd name="T116" fmla="*/ 0 w 1883"/>
                  <a:gd name="T117" fmla="*/ 0 h 2039"/>
                  <a:gd name="T118" fmla="*/ 0 w 1883"/>
                  <a:gd name="T119" fmla="*/ 0 h 203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883" h="2039">
                    <a:moveTo>
                      <a:pt x="0" y="2039"/>
                    </a:moveTo>
                    <a:lnTo>
                      <a:pt x="499" y="2039"/>
                    </a:lnTo>
                    <a:lnTo>
                      <a:pt x="734" y="1215"/>
                    </a:lnTo>
                    <a:lnTo>
                      <a:pt x="768" y="1215"/>
                    </a:lnTo>
                    <a:lnTo>
                      <a:pt x="798" y="1216"/>
                    </a:lnTo>
                    <a:lnTo>
                      <a:pt x="825" y="1217"/>
                    </a:lnTo>
                    <a:lnTo>
                      <a:pt x="850" y="1219"/>
                    </a:lnTo>
                    <a:lnTo>
                      <a:pt x="861" y="1221"/>
                    </a:lnTo>
                    <a:lnTo>
                      <a:pt x="873" y="1224"/>
                    </a:lnTo>
                    <a:lnTo>
                      <a:pt x="883" y="1227"/>
                    </a:lnTo>
                    <a:lnTo>
                      <a:pt x="893" y="1230"/>
                    </a:lnTo>
                    <a:lnTo>
                      <a:pt x="902" y="1234"/>
                    </a:lnTo>
                    <a:lnTo>
                      <a:pt x="911" y="1239"/>
                    </a:lnTo>
                    <a:lnTo>
                      <a:pt x="920" y="1244"/>
                    </a:lnTo>
                    <a:lnTo>
                      <a:pt x="927" y="1249"/>
                    </a:lnTo>
                    <a:lnTo>
                      <a:pt x="935" y="1257"/>
                    </a:lnTo>
                    <a:lnTo>
                      <a:pt x="941" y="1265"/>
                    </a:lnTo>
                    <a:lnTo>
                      <a:pt x="948" y="1273"/>
                    </a:lnTo>
                    <a:lnTo>
                      <a:pt x="953" y="1283"/>
                    </a:lnTo>
                    <a:lnTo>
                      <a:pt x="959" y="1294"/>
                    </a:lnTo>
                    <a:lnTo>
                      <a:pt x="963" y="1306"/>
                    </a:lnTo>
                    <a:lnTo>
                      <a:pt x="967" y="1319"/>
                    </a:lnTo>
                    <a:lnTo>
                      <a:pt x="972" y="1333"/>
                    </a:lnTo>
                    <a:lnTo>
                      <a:pt x="975" y="1348"/>
                    </a:lnTo>
                    <a:lnTo>
                      <a:pt x="977" y="1364"/>
                    </a:lnTo>
                    <a:lnTo>
                      <a:pt x="980" y="1382"/>
                    </a:lnTo>
                    <a:lnTo>
                      <a:pt x="981" y="1401"/>
                    </a:lnTo>
                    <a:lnTo>
                      <a:pt x="984" y="1444"/>
                    </a:lnTo>
                    <a:lnTo>
                      <a:pt x="986" y="1492"/>
                    </a:lnTo>
                    <a:lnTo>
                      <a:pt x="993" y="2039"/>
                    </a:lnTo>
                    <a:lnTo>
                      <a:pt x="1516" y="2039"/>
                    </a:lnTo>
                    <a:lnTo>
                      <a:pt x="1487" y="1372"/>
                    </a:lnTo>
                    <a:lnTo>
                      <a:pt x="1485" y="1329"/>
                    </a:lnTo>
                    <a:lnTo>
                      <a:pt x="1482" y="1289"/>
                    </a:lnTo>
                    <a:lnTo>
                      <a:pt x="1479" y="1253"/>
                    </a:lnTo>
                    <a:lnTo>
                      <a:pt x="1473" y="1219"/>
                    </a:lnTo>
                    <a:lnTo>
                      <a:pt x="1468" y="1190"/>
                    </a:lnTo>
                    <a:lnTo>
                      <a:pt x="1460" y="1163"/>
                    </a:lnTo>
                    <a:lnTo>
                      <a:pt x="1456" y="1150"/>
                    </a:lnTo>
                    <a:lnTo>
                      <a:pt x="1452" y="1139"/>
                    </a:lnTo>
                    <a:lnTo>
                      <a:pt x="1448" y="1127"/>
                    </a:lnTo>
                    <a:lnTo>
                      <a:pt x="1442" y="1118"/>
                    </a:lnTo>
                    <a:lnTo>
                      <a:pt x="1437" y="1108"/>
                    </a:lnTo>
                    <a:lnTo>
                      <a:pt x="1430" y="1099"/>
                    </a:lnTo>
                    <a:lnTo>
                      <a:pt x="1424" y="1091"/>
                    </a:lnTo>
                    <a:lnTo>
                      <a:pt x="1416" y="1083"/>
                    </a:lnTo>
                    <a:lnTo>
                      <a:pt x="1409" y="1076"/>
                    </a:lnTo>
                    <a:lnTo>
                      <a:pt x="1401" y="1069"/>
                    </a:lnTo>
                    <a:lnTo>
                      <a:pt x="1392" y="1064"/>
                    </a:lnTo>
                    <a:lnTo>
                      <a:pt x="1384" y="1058"/>
                    </a:lnTo>
                    <a:lnTo>
                      <a:pt x="1374" y="1053"/>
                    </a:lnTo>
                    <a:lnTo>
                      <a:pt x="1364" y="1049"/>
                    </a:lnTo>
                    <a:lnTo>
                      <a:pt x="1354" y="1044"/>
                    </a:lnTo>
                    <a:lnTo>
                      <a:pt x="1342" y="1041"/>
                    </a:lnTo>
                    <a:lnTo>
                      <a:pt x="1318" y="1036"/>
                    </a:lnTo>
                    <a:lnTo>
                      <a:pt x="1291" y="1031"/>
                    </a:lnTo>
                    <a:lnTo>
                      <a:pt x="1293" y="1025"/>
                    </a:lnTo>
                    <a:lnTo>
                      <a:pt x="1332" y="1017"/>
                    </a:lnTo>
                    <a:lnTo>
                      <a:pt x="1370" y="1008"/>
                    </a:lnTo>
                    <a:lnTo>
                      <a:pt x="1407" y="997"/>
                    </a:lnTo>
                    <a:lnTo>
                      <a:pt x="1440" y="985"/>
                    </a:lnTo>
                    <a:lnTo>
                      <a:pt x="1472" y="972"/>
                    </a:lnTo>
                    <a:lnTo>
                      <a:pt x="1504" y="957"/>
                    </a:lnTo>
                    <a:lnTo>
                      <a:pt x="1533" y="942"/>
                    </a:lnTo>
                    <a:lnTo>
                      <a:pt x="1560" y="926"/>
                    </a:lnTo>
                    <a:lnTo>
                      <a:pt x="1586" y="909"/>
                    </a:lnTo>
                    <a:lnTo>
                      <a:pt x="1611" y="892"/>
                    </a:lnTo>
                    <a:lnTo>
                      <a:pt x="1633" y="874"/>
                    </a:lnTo>
                    <a:lnTo>
                      <a:pt x="1655" y="855"/>
                    </a:lnTo>
                    <a:lnTo>
                      <a:pt x="1675" y="836"/>
                    </a:lnTo>
                    <a:lnTo>
                      <a:pt x="1695" y="817"/>
                    </a:lnTo>
                    <a:lnTo>
                      <a:pt x="1712" y="797"/>
                    </a:lnTo>
                    <a:lnTo>
                      <a:pt x="1728" y="778"/>
                    </a:lnTo>
                    <a:lnTo>
                      <a:pt x="1743" y="758"/>
                    </a:lnTo>
                    <a:lnTo>
                      <a:pt x="1757" y="739"/>
                    </a:lnTo>
                    <a:lnTo>
                      <a:pt x="1770" y="719"/>
                    </a:lnTo>
                    <a:lnTo>
                      <a:pt x="1782" y="701"/>
                    </a:lnTo>
                    <a:lnTo>
                      <a:pt x="1793" y="682"/>
                    </a:lnTo>
                    <a:lnTo>
                      <a:pt x="1803" y="663"/>
                    </a:lnTo>
                    <a:lnTo>
                      <a:pt x="1812" y="646"/>
                    </a:lnTo>
                    <a:lnTo>
                      <a:pt x="1820" y="629"/>
                    </a:lnTo>
                    <a:lnTo>
                      <a:pt x="1834" y="597"/>
                    </a:lnTo>
                    <a:lnTo>
                      <a:pt x="1845" y="569"/>
                    </a:lnTo>
                    <a:lnTo>
                      <a:pt x="1852" y="545"/>
                    </a:lnTo>
                    <a:lnTo>
                      <a:pt x="1858" y="526"/>
                    </a:lnTo>
                    <a:lnTo>
                      <a:pt x="1867" y="492"/>
                    </a:lnTo>
                    <a:lnTo>
                      <a:pt x="1874" y="458"/>
                    </a:lnTo>
                    <a:lnTo>
                      <a:pt x="1879" y="427"/>
                    </a:lnTo>
                    <a:lnTo>
                      <a:pt x="1881" y="396"/>
                    </a:lnTo>
                    <a:lnTo>
                      <a:pt x="1883" y="366"/>
                    </a:lnTo>
                    <a:lnTo>
                      <a:pt x="1883" y="338"/>
                    </a:lnTo>
                    <a:lnTo>
                      <a:pt x="1879" y="311"/>
                    </a:lnTo>
                    <a:lnTo>
                      <a:pt x="1875" y="285"/>
                    </a:lnTo>
                    <a:lnTo>
                      <a:pt x="1868" y="261"/>
                    </a:lnTo>
                    <a:lnTo>
                      <a:pt x="1861" y="238"/>
                    </a:lnTo>
                    <a:lnTo>
                      <a:pt x="1851" y="215"/>
                    </a:lnTo>
                    <a:lnTo>
                      <a:pt x="1840" y="195"/>
                    </a:lnTo>
                    <a:lnTo>
                      <a:pt x="1827" y="175"/>
                    </a:lnTo>
                    <a:lnTo>
                      <a:pt x="1813" y="156"/>
                    </a:lnTo>
                    <a:lnTo>
                      <a:pt x="1798" y="139"/>
                    </a:lnTo>
                    <a:lnTo>
                      <a:pt x="1781" y="122"/>
                    </a:lnTo>
                    <a:lnTo>
                      <a:pt x="1763" y="107"/>
                    </a:lnTo>
                    <a:lnTo>
                      <a:pt x="1743" y="93"/>
                    </a:lnTo>
                    <a:lnTo>
                      <a:pt x="1723" y="80"/>
                    </a:lnTo>
                    <a:lnTo>
                      <a:pt x="1700" y="67"/>
                    </a:lnTo>
                    <a:lnTo>
                      <a:pt x="1677" y="57"/>
                    </a:lnTo>
                    <a:lnTo>
                      <a:pt x="1654" y="47"/>
                    </a:lnTo>
                    <a:lnTo>
                      <a:pt x="1628" y="38"/>
                    </a:lnTo>
                    <a:lnTo>
                      <a:pt x="1602" y="30"/>
                    </a:lnTo>
                    <a:lnTo>
                      <a:pt x="1575" y="23"/>
                    </a:lnTo>
                    <a:lnTo>
                      <a:pt x="1547" y="17"/>
                    </a:lnTo>
                    <a:lnTo>
                      <a:pt x="1518" y="12"/>
                    </a:lnTo>
                    <a:lnTo>
                      <a:pt x="1487" y="8"/>
                    </a:lnTo>
                    <a:lnTo>
                      <a:pt x="1457" y="5"/>
                    </a:lnTo>
                    <a:lnTo>
                      <a:pt x="1426" y="3"/>
                    </a:lnTo>
                    <a:lnTo>
                      <a:pt x="1395" y="2"/>
                    </a:lnTo>
                    <a:lnTo>
                      <a:pt x="1362" y="0"/>
                    </a:lnTo>
                    <a:lnTo>
                      <a:pt x="584" y="0"/>
                    </a:lnTo>
                    <a:lnTo>
                      <a:pt x="0" y="2039"/>
                    </a:lnTo>
                    <a:close/>
                    <a:moveTo>
                      <a:pt x="965" y="345"/>
                    </a:moveTo>
                    <a:lnTo>
                      <a:pt x="1117" y="345"/>
                    </a:lnTo>
                    <a:lnTo>
                      <a:pt x="1141" y="346"/>
                    </a:lnTo>
                    <a:lnTo>
                      <a:pt x="1164" y="347"/>
                    </a:lnTo>
                    <a:lnTo>
                      <a:pt x="1185" y="349"/>
                    </a:lnTo>
                    <a:lnTo>
                      <a:pt x="1205" y="352"/>
                    </a:lnTo>
                    <a:lnTo>
                      <a:pt x="1222" y="357"/>
                    </a:lnTo>
                    <a:lnTo>
                      <a:pt x="1239" y="362"/>
                    </a:lnTo>
                    <a:lnTo>
                      <a:pt x="1254" y="367"/>
                    </a:lnTo>
                    <a:lnTo>
                      <a:pt x="1268" y="374"/>
                    </a:lnTo>
                    <a:lnTo>
                      <a:pt x="1280" y="380"/>
                    </a:lnTo>
                    <a:lnTo>
                      <a:pt x="1292" y="388"/>
                    </a:lnTo>
                    <a:lnTo>
                      <a:pt x="1302" y="396"/>
                    </a:lnTo>
                    <a:lnTo>
                      <a:pt x="1310" y="404"/>
                    </a:lnTo>
                    <a:lnTo>
                      <a:pt x="1319" y="413"/>
                    </a:lnTo>
                    <a:lnTo>
                      <a:pt x="1326" y="423"/>
                    </a:lnTo>
                    <a:lnTo>
                      <a:pt x="1332" y="432"/>
                    </a:lnTo>
                    <a:lnTo>
                      <a:pt x="1337" y="442"/>
                    </a:lnTo>
                    <a:lnTo>
                      <a:pt x="1341" y="452"/>
                    </a:lnTo>
                    <a:lnTo>
                      <a:pt x="1345" y="462"/>
                    </a:lnTo>
                    <a:lnTo>
                      <a:pt x="1347" y="473"/>
                    </a:lnTo>
                    <a:lnTo>
                      <a:pt x="1349" y="484"/>
                    </a:lnTo>
                    <a:lnTo>
                      <a:pt x="1351" y="505"/>
                    </a:lnTo>
                    <a:lnTo>
                      <a:pt x="1351" y="526"/>
                    </a:lnTo>
                    <a:lnTo>
                      <a:pt x="1349" y="547"/>
                    </a:lnTo>
                    <a:lnTo>
                      <a:pt x="1346" y="567"/>
                    </a:lnTo>
                    <a:lnTo>
                      <a:pt x="1343" y="586"/>
                    </a:lnTo>
                    <a:lnTo>
                      <a:pt x="1339" y="602"/>
                    </a:lnTo>
                    <a:lnTo>
                      <a:pt x="1334" y="616"/>
                    </a:lnTo>
                    <a:lnTo>
                      <a:pt x="1329" y="629"/>
                    </a:lnTo>
                    <a:lnTo>
                      <a:pt x="1324" y="643"/>
                    </a:lnTo>
                    <a:lnTo>
                      <a:pt x="1318" y="656"/>
                    </a:lnTo>
                    <a:lnTo>
                      <a:pt x="1312" y="669"/>
                    </a:lnTo>
                    <a:lnTo>
                      <a:pt x="1305" y="682"/>
                    </a:lnTo>
                    <a:lnTo>
                      <a:pt x="1298" y="693"/>
                    </a:lnTo>
                    <a:lnTo>
                      <a:pt x="1290" y="705"/>
                    </a:lnTo>
                    <a:lnTo>
                      <a:pt x="1281" y="717"/>
                    </a:lnTo>
                    <a:lnTo>
                      <a:pt x="1273" y="729"/>
                    </a:lnTo>
                    <a:lnTo>
                      <a:pt x="1263" y="740"/>
                    </a:lnTo>
                    <a:lnTo>
                      <a:pt x="1253" y="752"/>
                    </a:lnTo>
                    <a:lnTo>
                      <a:pt x="1244" y="761"/>
                    </a:lnTo>
                    <a:lnTo>
                      <a:pt x="1233" y="772"/>
                    </a:lnTo>
                    <a:lnTo>
                      <a:pt x="1222" y="782"/>
                    </a:lnTo>
                    <a:lnTo>
                      <a:pt x="1210" y="791"/>
                    </a:lnTo>
                    <a:lnTo>
                      <a:pt x="1198" y="800"/>
                    </a:lnTo>
                    <a:lnTo>
                      <a:pt x="1185" y="809"/>
                    </a:lnTo>
                    <a:lnTo>
                      <a:pt x="1172" y="817"/>
                    </a:lnTo>
                    <a:lnTo>
                      <a:pt x="1159" y="824"/>
                    </a:lnTo>
                    <a:lnTo>
                      <a:pt x="1145" y="832"/>
                    </a:lnTo>
                    <a:lnTo>
                      <a:pt x="1131" y="838"/>
                    </a:lnTo>
                    <a:lnTo>
                      <a:pt x="1117" y="844"/>
                    </a:lnTo>
                    <a:lnTo>
                      <a:pt x="1102" y="849"/>
                    </a:lnTo>
                    <a:lnTo>
                      <a:pt x="1087" y="854"/>
                    </a:lnTo>
                    <a:lnTo>
                      <a:pt x="1071" y="859"/>
                    </a:lnTo>
                    <a:lnTo>
                      <a:pt x="1055" y="862"/>
                    </a:lnTo>
                    <a:lnTo>
                      <a:pt x="1038" y="865"/>
                    </a:lnTo>
                    <a:lnTo>
                      <a:pt x="1022" y="867"/>
                    </a:lnTo>
                    <a:lnTo>
                      <a:pt x="1005" y="869"/>
                    </a:lnTo>
                    <a:lnTo>
                      <a:pt x="988" y="871"/>
                    </a:lnTo>
                    <a:lnTo>
                      <a:pt x="969" y="871"/>
                    </a:lnTo>
                    <a:lnTo>
                      <a:pt x="815" y="871"/>
                    </a:lnTo>
                    <a:lnTo>
                      <a:pt x="965" y="345"/>
                    </a:lnTo>
                    <a:close/>
                  </a:path>
                </a:pathLst>
              </a:custGeom>
              <a:solidFill>
                <a:srgbClr val="007C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42" name="Freeform 175">
                <a:extLst>
                  <a:ext uri="{FF2B5EF4-FFF2-40B4-BE49-F238E27FC236}">
                    <a16:creationId xmlns:a16="http://schemas.microsoft.com/office/drawing/2014/main" id="{427003A8-3DE8-4EF0-ACE9-74A7B6AE53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3430" y="2418685"/>
                <a:ext cx="191170" cy="215787"/>
              </a:xfrm>
              <a:custGeom>
                <a:avLst/>
                <a:gdLst>
                  <a:gd name="T0" fmla="*/ 0 w 1808"/>
                  <a:gd name="T1" fmla="*/ 0 h 2039"/>
                  <a:gd name="T2" fmla="*/ 0 w 1808"/>
                  <a:gd name="T3" fmla="*/ 0 h 2039"/>
                  <a:gd name="T4" fmla="*/ 0 w 1808"/>
                  <a:gd name="T5" fmla="*/ 0 h 2039"/>
                  <a:gd name="T6" fmla="*/ 0 w 1808"/>
                  <a:gd name="T7" fmla="*/ 0 h 2039"/>
                  <a:gd name="T8" fmla="*/ 0 w 1808"/>
                  <a:gd name="T9" fmla="*/ 0 h 2039"/>
                  <a:gd name="T10" fmla="*/ 0 w 1808"/>
                  <a:gd name="T11" fmla="*/ 0 h 2039"/>
                  <a:gd name="T12" fmla="*/ 0 w 1808"/>
                  <a:gd name="T13" fmla="*/ 0 h 2039"/>
                  <a:gd name="T14" fmla="*/ 0 w 1808"/>
                  <a:gd name="T15" fmla="*/ 0 h 2039"/>
                  <a:gd name="T16" fmla="*/ 0 w 1808"/>
                  <a:gd name="T17" fmla="*/ 0 h 2039"/>
                  <a:gd name="T18" fmla="*/ 0 w 1808"/>
                  <a:gd name="T19" fmla="*/ 0 h 2039"/>
                  <a:gd name="T20" fmla="*/ 0 w 1808"/>
                  <a:gd name="T21" fmla="*/ 0 h 2039"/>
                  <a:gd name="T22" fmla="*/ 0 w 1808"/>
                  <a:gd name="T23" fmla="*/ 0 h 2039"/>
                  <a:gd name="T24" fmla="*/ 0 w 1808"/>
                  <a:gd name="T25" fmla="*/ 0 h 203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08" h="2039">
                    <a:moveTo>
                      <a:pt x="0" y="2039"/>
                    </a:moveTo>
                    <a:lnTo>
                      <a:pt x="1260" y="2039"/>
                    </a:lnTo>
                    <a:lnTo>
                      <a:pt x="1363" y="1682"/>
                    </a:lnTo>
                    <a:lnTo>
                      <a:pt x="582" y="1682"/>
                    </a:lnTo>
                    <a:lnTo>
                      <a:pt x="729" y="1168"/>
                    </a:lnTo>
                    <a:lnTo>
                      <a:pt x="1437" y="1168"/>
                    </a:lnTo>
                    <a:lnTo>
                      <a:pt x="1539" y="812"/>
                    </a:lnTo>
                    <a:lnTo>
                      <a:pt x="832" y="812"/>
                    </a:lnTo>
                    <a:lnTo>
                      <a:pt x="962" y="357"/>
                    </a:lnTo>
                    <a:lnTo>
                      <a:pt x="1706" y="357"/>
                    </a:lnTo>
                    <a:lnTo>
                      <a:pt x="1808" y="0"/>
                    </a:lnTo>
                    <a:lnTo>
                      <a:pt x="584" y="0"/>
                    </a:lnTo>
                    <a:lnTo>
                      <a:pt x="0" y="2039"/>
                    </a:lnTo>
                    <a:close/>
                  </a:path>
                </a:pathLst>
              </a:custGeom>
              <a:solidFill>
                <a:srgbClr val="007C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43" name="Freeform 176">
                <a:extLst>
                  <a:ext uri="{FF2B5EF4-FFF2-40B4-BE49-F238E27FC236}">
                    <a16:creationId xmlns:a16="http://schemas.microsoft.com/office/drawing/2014/main" id="{E3FB1F9C-871C-42B2-A5F1-58F9D75FCD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0308" y="2418685"/>
                <a:ext cx="191170" cy="215787"/>
              </a:xfrm>
              <a:custGeom>
                <a:avLst/>
                <a:gdLst>
                  <a:gd name="T0" fmla="*/ 0 w 1808"/>
                  <a:gd name="T1" fmla="*/ 0 h 2039"/>
                  <a:gd name="T2" fmla="*/ 0 w 1808"/>
                  <a:gd name="T3" fmla="*/ 0 h 2039"/>
                  <a:gd name="T4" fmla="*/ 0 w 1808"/>
                  <a:gd name="T5" fmla="*/ 0 h 2039"/>
                  <a:gd name="T6" fmla="*/ 0 w 1808"/>
                  <a:gd name="T7" fmla="*/ 0 h 2039"/>
                  <a:gd name="T8" fmla="*/ 0 w 1808"/>
                  <a:gd name="T9" fmla="*/ 0 h 2039"/>
                  <a:gd name="T10" fmla="*/ 0 w 1808"/>
                  <a:gd name="T11" fmla="*/ 0 h 2039"/>
                  <a:gd name="T12" fmla="*/ 0 w 1808"/>
                  <a:gd name="T13" fmla="*/ 0 h 2039"/>
                  <a:gd name="T14" fmla="*/ 0 w 1808"/>
                  <a:gd name="T15" fmla="*/ 0 h 2039"/>
                  <a:gd name="T16" fmla="*/ 0 w 1808"/>
                  <a:gd name="T17" fmla="*/ 0 h 2039"/>
                  <a:gd name="T18" fmla="*/ 0 w 1808"/>
                  <a:gd name="T19" fmla="*/ 0 h 2039"/>
                  <a:gd name="T20" fmla="*/ 0 w 1808"/>
                  <a:gd name="T21" fmla="*/ 0 h 2039"/>
                  <a:gd name="T22" fmla="*/ 0 w 1808"/>
                  <a:gd name="T23" fmla="*/ 0 h 2039"/>
                  <a:gd name="T24" fmla="*/ 0 w 1808"/>
                  <a:gd name="T25" fmla="*/ 0 h 203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808" h="2039">
                    <a:moveTo>
                      <a:pt x="0" y="2039"/>
                    </a:moveTo>
                    <a:lnTo>
                      <a:pt x="1260" y="2039"/>
                    </a:lnTo>
                    <a:lnTo>
                      <a:pt x="1362" y="1682"/>
                    </a:lnTo>
                    <a:lnTo>
                      <a:pt x="582" y="1682"/>
                    </a:lnTo>
                    <a:lnTo>
                      <a:pt x="730" y="1168"/>
                    </a:lnTo>
                    <a:lnTo>
                      <a:pt x="1437" y="1168"/>
                    </a:lnTo>
                    <a:lnTo>
                      <a:pt x="1539" y="812"/>
                    </a:lnTo>
                    <a:lnTo>
                      <a:pt x="831" y="812"/>
                    </a:lnTo>
                    <a:lnTo>
                      <a:pt x="962" y="357"/>
                    </a:lnTo>
                    <a:lnTo>
                      <a:pt x="1706" y="357"/>
                    </a:lnTo>
                    <a:lnTo>
                      <a:pt x="1808" y="0"/>
                    </a:lnTo>
                    <a:lnTo>
                      <a:pt x="584" y="0"/>
                    </a:lnTo>
                    <a:lnTo>
                      <a:pt x="0" y="2039"/>
                    </a:lnTo>
                    <a:close/>
                  </a:path>
                </a:pathLst>
              </a:custGeom>
              <a:solidFill>
                <a:srgbClr val="007C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  <p:sp>
            <p:nvSpPr>
              <p:cNvPr id="244" name="Freeform 177">
                <a:extLst>
                  <a:ext uri="{FF2B5EF4-FFF2-40B4-BE49-F238E27FC236}">
                    <a16:creationId xmlns:a16="http://schemas.microsoft.com/office/drawing/2014/main" id="{42BEF989-95C1-479E-99E2-95A845379C1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5073" y="2418685"/>
                <a:ext cx="235530" cy="215787"/>
              </a:xfrm>
              <a:custGeom>
                <a:avLst/>
                <a:gdLst>
                  <a:gd name="T0" fmla="*/ 0 w 2227"/>
                  <a:gd name="T1" fmla="*/ 0 h 2039"/>
                  <a:gd name="T2" fmla="*/ 0 w 2227"/>
                  <a:gd name="T3" fmla="*/ 0 h 2039"/>
                  <a:gd name="T4" fmla="*/ 0 w 2227"/>
                  <a:gd name="T5" fmla="*/ 0 h 2039"/>
                  <a:gd name="T6" fmla="*/ 0 w 2227"/>
                  <a:gd name="T7" fmla="*/ 0 h 2039"/>
                  <a:gd name="T8" fmla="*/ 0 w 2227"/>
                  <a:gd name="T9" fmla="*/ 0 h 2039"/>
                  <a:gd name="T10" fmla="*/ 0 w 2227"/>
                  <a:gd name="T11" fmla="*/ 0 h 2039"/>
                  <a:gd name="T12" fmla="*/ 0 w 2227"/>
                  <a:gd name="T13" fmla="*/ 0 h 2039"/>
                  <a:gd name="T14" fmla="*/ 0 w 2227"/>
                  <a:gd name="T15" fmla="*/ 0 h 2039"/>
                  <a:gd name="T16" fmla="*/ 0 w 2227"/>
                  <a:gd name="T17" fmla="*/ 0 h 2039"/>
                  <a:gd name="T18" fmla="*/ 0 w 2227"/>
                  <a:gd name="T19" fmla="*/ 0 h 2039"/>
                  <a:gd name="T20" fmla="*/ 0 w 2227"/>
                  <a:gd name="T21" fmla="*/ 0 h 2039"/>
                  <a:gd name="T22" fmla="*/ 0 w 2227"/>
                  <a:gd name="T23" fmla="*/ 0 h 2039"/>
                  <a:gd name="T24" fmla="*/ 0 w 2227"/>
                  <a:gd name="T25" fmla="*/ 0 h 203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227" h="2039">
                    <a:moveTo>
                      <a:pt x="0" y="2039"/>
                    </a:moveTo>
                    <a:lnTo>
                      <a:pt x="438" y="2039"/>
                    </a:lnTo>
                    <a:lnTo>
                      <a:pt x="861" y="564"/>
                    </a:lnTo>
                    <a:lnTo>
                      <a:pt x="866" y="564"/>
                    </a:lnTo>
                    <a:lnTo>
                      <a:pt x="1054" y="2039"/>
                    </a:lnTo>
                    <a:lnTo>
                      <a:pt x="1643" y="2039"/>
                    </a:lnTo>
                    <a:lnTo>
                      <a:pt x="2227" y="0"/>
                    </a:lnTo>
                    <a:lnTo>
                      <a:pt x="1790" y="0"/>
                    </a:lnTo>
                    <a:lnTo>
                      <a:pt x="1385" y="1414"/>
                    </a:lnTo>
                    <a:lnTo>
                      <a:pt x="1379" y="1414"/>
                    </a:lnTo>
                    <a:lnTo>
                      <a:pt x="1167" y="0"/>
                    </a:lnTo>
                    <a:lnTo>
                      <a:pt x="584" y="0"/>
                    </a:lnTo>
                    <a:lnTo>
                      <a:pt x="0" y="2039"/>
                    </a:lnTo>
                    <a:close/>
                  </a:path>
                </a:pathLst>
              </a:custGeom>
              <a:solidFill>
                <a:srgbClr val="007C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685577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 sz="1100" kern="0">
                  <a:solidFill>
                    <a:srgbClr val="000000"/>
                  </a:solidFill>
                  <a:latin typeface="Delivery"/>
                </a:endParaRPr>
              </a:p>
            </p:txBody>
          </p:sp>
        </p:grpSp>
      </p:grpSp>
      <p:sp>
        <p:nvSpPr>
          <p:cNvPr id="249" name="Rectangle 18">
            <a:extLst>
              <a:ext uri="{FF2B5EF4-FFF2-40B4-BE49-F238E27FC236}">
                <a16:creationId xmlns:a16="http://schemas.microsoft.com/office/drawing/2014/main" id="{50616E45-C68D-4D58-83D7-9C0057FCD2ED}"/>
              </a:ext>
            </a:extLst>
          </p:cNvPr>
          <p:cNvSpPr/>
          <p:nvPr/>
        </p:nvSpPr>
        <p:spPr bwMode="gray">
          <a:xfrm>
            <a:off x="7795010" y="1114724"/>
            <a:ext cx="1007689" cy="32507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54847" tIns="13712" rIns="41135" bIns="13712" rtlCol="0" anchor="ctr"/>
          <a:lstStyle/>
          <a:p>
            <a:pPr algn="ctr" defTabSz="685577">
              <a:defRPr/>
            </a:pPr>
            <a:r>
              <a:rPr lang="fr-FR" sz="1050" b="1" kern="0">
                <a:solidFill>
                  <a:srgbClr val="007C39"/>
                </a:solidFill>
                <a:latin typeface="Delivery"/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9" name="Rectangle 12">
            <a:extLst>
              <a:ext uri="{FF2B5EF4-FFF2-40B4-BE49-F238E27FC236}">
                <a16:creationId xmlns:a16="http://schemas.microsoft.com/office/drawing/2014/main" id="{A65F9F56-91F0-42F9-9F6A-4EBC142AEFE9}"/>
              </a:ext>
            </a:extLst>
          </p:cNvPr>
          <p:cNvSpPr/>
          <p:nvPr/>
        </p:nvSpPr>
        <p:spPr bwMode="gray">
          <a:xfrm>
            <a:off x="2813608" y="3106544"/>
            <a:ext cx="1007689" cy="162652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54847" tIns="41135" rIns="41135" bIns="13712">
            <a:noAutofit/>
          </a:bodyPr>
          <a:lstStyle/>
          <a:p>
            <a:pPr defTabSz="685577">
              <a:lnSpc>
                <a:spcPct val="110000"/>
              </a:lnSpc>
              <a:spcAft>
                <a:spcPts val="150"/>
              </a:spcAft>
              <a:defRPr/>
            </a:pPr>
            <a:r>
              <a:rPr lang="fr-FR" sz="800" b="1" kern="0" dirty="0">
                <a:solidFill>
                  <a:srgbClr val="D40511"/>
                </a:solidFill>
                <a:latin typeface="Delivery"/>
                <a:cs typeface="Arial" panose="020B0604020202020204" pitchFamily="34" charset="0"/>
              </a:rPr>
              <a:t>Intégration dans la Stratégie</a:t>
            </a:r>
          </a:p>
          <a:p>
            <a:pPr defTabSz="685577">
              <a:lnSpc>
                <a:spcPct val="110000"/>
              </a:lnSpc>
              <a:spcAft>
                <a:spcPts val="150"/>
              </a:spcAft>
              <a:defRPr/>
            </a:pP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Au-delà d’objectifs financiers ambitieux, DHL Group veut devenir la </a:t>
            </a:r>
            <a:r>
              <a:rPr lang="fr-FR" sz="800" b="1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référence en tant qu’entreprise responsable</a:t>
            </a:r>
          </a:p>
        </p:txBody>
      </p:sp>
      <p:sp>
        <p:nvSpPr>
          <p:cNvPr id="21" name="Rectangle 19">
            <a:extLst>
              <a:ext uri="{FF2B5EF4-FFF2-40B4-BE49-F238E27FC236}">
                <a16:creationId xmlns:a16="http://schemas.microsoft.com/office/drawing/2014/main" id="{077F780A-7E13-4FA7-BA52-E3D53CFA320B}"/>
              </a:ext>
            </a:extLst>
          </p:cNvPr>
          <p:cNvSpPr/>
          <p:nvPr/>
        </p:nvSpPr>
        <p:spPr bwMode="gray">
          <a:xfrm>
            <a:off x="3666498" y="4509251"/>
            <a:ext cx="247991" cy="213889"/>
          </a:xfrm>
          <a:prstGeom prst="rect">
            <a:avLst/>
          </a:prstGeom>
          <a:noFill/>
          <a:ln>
            <a:noFill/>
          </a:ln>
        </p:spPr>
        <p:txBody>
          <a:bodyPr wrap="square" lIns="54847" tIns="41135" rIns="41135" bIns="13712">
            <a:noAutofit/>
          </a:bodyPr>
          <a:lstStyle/>
          <a:p>
            <a:pPr algn="ctr" defTabSz="685577">
              <a:spcAft>
                <a:spcPts val="450"/>
              </a:spcAft>
              <a:defRPr/>
            </a:pPr>
            <a:r>
              <a:rPr lang="fr-FR" sz="1600" b="1">
                <a:solidFill>
                  <a:srgbClr val="007C39"/>
                </a:solidFill>
                <a:latin typeface="Delivery"/>
                <a:sym typeface="Wingdings"/>
              </a:rPr>
              <a:t></a:t>
            </a:r>
            <a:endParaRPr lang="fr-FR" sz="1600">
              <a:solidFill>
                <a:srgbClr val="007C39"/>
              </a:solidFill>
              <a:latin typeface="Delivery"/>
            </a:endParaRPr>
          </a:p>
        </p:txBody>
      </p:sp>
      <p:sp>
        <p:nvSpPr>
          <p:cNvPr id="10" name="Rectangle 14">
            <a:extLst>
              <a:ext uri="{FF2B5EF4-FFF2-40B4-BE49-F238E27FC236}">
                <a16:creationId xmlns:a16="http://schemas.microsoft.com/office/drawing/2014/main" id="{F4E1EFB3-2756-4680-B766-142680984B0F}"/>
              </a:ext>
            </a:extLst>
          </p:cNvPr>
          <p:cNvSpPr/>
          <p:nvPr/>
        </p:nvSpPr>
        <p:spPr bwMode="gray">
          <a:xfrm>
            <a:off x="3960390" y="3106544"/>
            <a:ext cx="1104736" cy="16265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54847" tIns="41135" rIns="41135" bIns="13712">
            <a:noAutofit/>
          </a:bodyPr>
          <a:lstStyle/>
          <a:p>
            <a:pPr defTabSz="685577">
              <a:lnSpc>
                <a:spcPct val="110000"/>
              </a:lnSpc>
              <a:spcAft>
                <a:spcPts val="150"/>
              </a:spcAft>
              <a:defRPr/>
            </a:pPr>
            <a:r>
              <a:rPr lang="fr-FR" sz="800" b="1" kern="0" dirty="0">
                <a:solidFill>
                  <a:srgbClr val="D40511"/>
                </a:solidFill>
                <a:latin typeface="Delivery"/>
                <a:cs typeface="Arial" panose="020B0604020202020204" pitchFamily="34" charset="0"/>
              </a:rPr>
              <a:t>Pionnier dans la commercialisation de véhicules électriques: </a:t>
            </a:r>
          </a:p>
          <a:p>
            <a:pPr defTabSz="685577">
              <a:lnSpc>
                <a:spcPct val="110000"/>
              </a:lnSpc>
              <a:spcAft>
                <a:spcPts val="150"/>
              </a:spcAft>
              <a:defRPr/>
            </a:pP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Le </a:t>
            </a:r>
            <a:r>
              <a:rPr lang="fr-FR" sz="800" b="1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véhicule électrique de l’entreprise, </a:t>
            </a: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rend la livraison du courrier et des colis </a:t>
            </a:r>
            <a:r>
              <a:rPr lang="fr-FR" sz="800" b="1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plus silencieuse et respectueuse de l’environnement</a:t>
            </a:r>
          </a:p>
        </p:txBody>
      </p:sp>
      <p:sp>
        <p:nvSpPr>
          <p:cNvPr id="22" name="Rectangle 19">
            <a:extLst>
              <a:ext uri="{FF2B5EF4-FFF2-40B4-BE49-F238E27FC236}">
                <a16:creationId xmlns:a16="http://schemas.microsoft.com/office/drawing/2014/main" id="{46C35BE1-7CC2-45FE-A2FC-F44BE2A27E76}"/>
              </a:ext>
            </a:extLst>
          </p:cNvPr>
          <p:cNvSpPr/>
          <p:nvPr/>
        </p:nvSpPr>
        <p:spPr bwMode="gray">
          <a:xfrm>
            <a:off x="4934875" y="4501034"/>
            <a:ext cx="247991" cy="213889"/>
          </a:xfrm>
          <a:prstGeom prst="rect">
            <a:avLst/>
          </a:prstGeom>
          <a:noFill/>
          <a:ln>
            <a:noFill/>
          </a:ln>
        </p:spPr>
        <p:txBody>
          <a:bodyPr wrap="square" lIns="54847" tIns="41135" rIns="41135" bIns="13712">
            <a:noAutofit/>
          </a:bodyPr>
          <a:lstStyle/>
          <a:p>
            <a:pPr algn="ctr" defTabSz="685577">
              <a:spcAft>
                <a:spcPts val="450"/>
              </a:spcAft>
              <a:defRPr/>
            </a:pPr>
            <a:r>
              <a:rPr lang="fr-FR" sz="1600" b="1">
                <a:solidFill>
                  <a:srgbClr val="007C39"/>
                </a:solidFill>
                <a:latin typeface="Delivery"/>
                <a:sym typeface="Wingdings"/>
              </a:rPr>
              <a:t></a:t>
            </a:r>
            <a:endParaRPr lang="fr-FR" sz="1600">
              <a:solidFill>
                <a:srgbClr val="007C39"/>
              </a:solidFill>
              <a:latin typeface="Delivery"/>
            </a:endParaRP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14075420-5717-4C48-97AE-951866C69CD5}"/>
              </a:ext>
            </a:extLst>
          </p:cNvPr>
          <p:cNvSpPr/>
          <p:nvPr/>
        </p:nvSpPr>
        <p:spPr bwMode="gray">
          <a:xfrm>
            <a:off x="5301261" y="3106544"/>
            <a:ext cx="1007689" cy="162652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54847" tIns="41135" rIns="41135" bIns="13712">
            <a:noAutofit/>
          </a:bodyPr>
          <a:lstStyle/>
          <a:p>
            <a:pPr defTabSz="685577">
              <a:lnSpc>
                <a:spcPct val="110000"/>
              </a:lnSpc>
              <a:spcAft>
                <a:spcPts val="150"/>
              </a:spcAft>
              <a:defRPr/>
            </a:pPr>
            <a:r>
              <a:rPr lang="fr-FR" sz="800" b="1" kern="0" dirty="0">
                <a:solidFill>
                  <a:srgbClr val="D40511"/>
                </a:solidFill>
                <a:latin typeface="Delivery"/>
                <a:cs typeface="Arial" panose="020B0604020202020204" pitchFamily="34" charset="0"/>
              </a:rPr>
              <a:t>Objectif </a:t>
            </a:r>
            <a:br>
              <a:rPr lang="fr-FR" sz="800" b="1" kern="0" dirty="0">
                <a:solidFill>
                  <a:srgbClr val="D40511"/>
                </a:solidFill>
                <a:latin typeface="Delivery"/>
                <a:cs typeface="Arial" panose="020B0604020202020204" pitchFamily="34" charset="0"/>
              </a:rPr>
            </a:br>
            <a:r>
              <a:rPr lang="fr-FR" sz="800" b="1" kern="0" dirty="0">
                <a:solidFill>
                  <a:srgbClr val="D40511"/>
                </a:solidFill>
                <a:latin typeface="Delivery"/>
                <a:cs typeface="Arial" panose="020B0604020202020204" pitchFamily="34" charset="0"/>
              </a:rPr>
              <a:t>atteint</a:t>
            </a:r>
          </a:p>
          <a:p>
            <a:pPr defTabSz="685577">
              <a:lnSpc>
                <a:spcPct val="110000"/>
              </a:lnSpc>
              <a:spcAft>
                <a:spcPts val="150"/>
              </a:spcAft>
              <a:defRPr/>
            </a:pP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DHL Group a atteint son objectif de protection du climat en avance, </a:t>
            </a:r>
            <a:r>
              <a:rPr lang="fr-FR" sz="800" b="1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améliorant l’efficacité carbone </a:t>
            </a: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entre 2008 et 2016 </a:t>
            </a:r>
            <a:r>
              <a:rPr lang="fr-FR" sz="800" b="1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de 30%</a:t>
            </a:r>
            <a:r>
              <a:rPr lang="fr-FR" sz="800" kern="0" dirty="0">
                <a:solidFill>
                  <a:prstClr val="black"/>
                </a:solidFill>
                <a:latin typeface="Delivery"/>
                <a:cs typeface="Arial" panose="020B0604020202020204" pitchFamily="34" charset="0"/>
              </a:rPr>
              <a:t> vs 2007 </a:t>
            </a:r>
          </a:p>
        </p:txBody>
      </p:sp>
      <p:sp>
        <p:nvSpPr>
          <p:cNvPr id="23" name="Rectangle 19">
            <a:extLst>
              <a:ext uri="{FF2B5EF4-FFF2-40B4-BE49-F238E27FC236}">
                <a16:creationId xmlns:a16="http://schemas.microsoft.com/office/drawing/2014/main" id="{DE0E04A0-A3F1-4792-97B1-52E5E909DA33}"/>
              </a:ext>
            </a:extLst>
          </p:cNvPr>
          <p:cNvSpPr/>
          <p:nvPr/>
        </p:nvSpPr>
        <p:spPr bwMode="gray">
          <a:xfrm>
            <a:off x="6178702" y="4497517"/>
            <a:ext cx="247991" cy="213889"/>
          </a:xfrm>
          <a:prstGeom prst="rect">
            <a:avLst/>
          </a:prstGeom>
          <a:noFill/>
          <a:ln>
            <a:noFill/>
          </a:ln>
        </p:spPr>
        <p:txBody>
          <a:bodyPr wrap="square" lIns="54847" tIns="41135" rIns="41135" bIns="13712">
            <a:noAutofit/>
          </a:bodyPr>
          <a:lstStyle/>
          <a:p>
            <a:pPr algn="ctr" defTabSz="685577">
              <a:spcAft>
                <a:spcPts val="450"/>
              </a:spcAft>
              <a:defRPr/>
            </a:pPr>
            <a:r>
              <a:rPr lang="fr-FR" sz="1600" b="1">
                <a:solidFill>
                  <a:srgbClr val="007C39"/>
                </a:solidFill>
                <a:latin typeface="Delivery"/>
                <a:sym typeface="Wingdings"/>
              </a:rPr>
              <a:t></a:t>
            </a:r>
            <a:endParaRPr lang="fr-FR" sz="1600">
              <a:solidFill>
                <a:srgbClr val="007C39"/>
              </a:solidFill>
              <a:latin typeface="Delivery"/>
            </a:endParaRPr>
          </a:p>
        </p:txBody>
      </p:sp>
      <p:sp>
        <p:nvSpPr>
          <p:cNvPr id="18" name="Rectangle 29">
            <a:extLst>
              <a:ext uri="{FF2B5EF4-FFF2-40B4-BE49-F238E27FC236}">
                <a16:creationId xmlns:a16="http://schemas.microsoft.com/office/drawing/2014/main" id="{92C6EC3E-EA5F-477D-98D4-4D1FD2015EB6}"/>
              </a:ext>
            </a:extLst>
          </p:cNvPr>
          <p:cNvSpPr txBox="1">
            <a:spLocks/>
          </p:cNvSpPr>
          <p:nvPr/>
        </p:nvSpPr>
        <p:spPr bwMode="gray">
          <a:xfrm>
            <a:off x="6545085" y="3106545"/>
            <a:ext cx="1007689" cy="1626523"/>
          </a:xfrm>
          <a:prstGeom prst="rect">
            <a:avLst/>
          </a:prstGeom>
          <a:solidFill>
            <a:schemeClr val="accent6"/>
          </a:solidFill>
        </p:spPr>
        <p:txBody>
          <a:bodyPr vert="horz" lIns="54847" tIns="41135" rIns="41135" bIns="13712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03">
              <a:spcAft>
                <a:spcPts val="150"/>
              </a:spcAft>
              <a:defRPr/>
            </a:pPr>
            <a:r>
              <a:rPr lang="fr-FR" sz="800" b="1" dirty="0">
                <a:solidFill>
                  <a:srgbClr val="D40511"/>
                </a:solidFill>
                <a:latin typeface="Delivery"/>
              </a:rPr>
              <a:t>Zéro Emissions d’ici 2050</a:t>
            </a:r>
          </a:p>
          <a:p>
            <a:pPr defTabSz="914103">
              <a:spcAft>
                <a:spcPts val="150"/>
              </a:spcAft>
              <a:defRPr/>
            </a:pPr>
            <a:r>
              <a:rPr lang="fr-FR" sz="800" dirty="0">
                <a:solidFill>
                  <a:prstClr val="black"/>
                </a:solidFill>
                <a:latin typeface="Delivery"/>
              </a:rPr>
              <a:t>DHL Group s’est fixé un </a:t>
            </a:r>
            <a:r>
              <a:rPr lang="fr-FR" sz="800" b="1" dirty="0">
                <a:solidFill>
                  <a:prstClr val="black"/>
                </a:solidFill>
                <a:latin typeface="Delivery"/>
              </a:rPr>
              <a:t>nouvel objectif de protection du climat </a:t>
            </a:r>
            <a:r>
              <a:rPr lang="fr-FR" sz="800" dirty="0">
                <a:solidFill>
                  <a:prstClr val="black"/>
                </a:solidFill>
                <a:latin typeface="Delivery"/>
              </a:rPr>
              <a:t>Mission 2050 et des objectifs intermédiaires pour 2025</a:t>
            </a:r>
          </a:p>
        </p:txBody>
      </p:sp>
      <p:sp>
        <p:nvSpPr>
          <p:cNvPr id="120" name="Oval 103">
            <a:extLst>
              <a:ext uri="{FF2B5EF4-FFF2-40B4-BE49-F238E27FC236}">
                <a16:creationId xmlns:a16="http://schemas.microsoft.com/office/drawing/2014/main" id="{EEEF9644-BB0A-4088-8739-475AA9894B99}"/>
              </a:ext>
            </a:extLst>
          </p:cNvPr>
          <p:cNvSpPr/>
          <p:nvPr/>
        </p:nvSpPr>
        <p:spPr bwMode="gray">
          <a:xfrm>
            <a:off x="4499719" y="1441077"/>
            <a:ext cx="124793" cy="124793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577">
              <a:defRPr/>
            </a:pPr>
            <a:endParaRPr lang="fr-FR" sz="800" kern="0">
              <a:solidFill>
                <a:prstClr val="white"/>
              </a:solidFill>
              <a:latin typeface="Delivery"/>
            </a:endParaRPr>
          </a:p>
        </p:txBody>
      </p:sp>
      <p:cxnSp>
        <p:nvCxnSpPr>
          <p:cNvPr id="121" name="Straight Connector 104">
            <a:extLst>
              <a:ext uri="{FF2B5EF4-FFF2-40B4-BE49-F238E27FC236}">
                <a16:creationId xmlns:a16="http://schemas.microsoft.com/office/drawing/2014/main" id="{69A507A9-8D5D-459C-939A-CACFC2FE7D0E}"/>
              </a:ext>
            </a:extLst>
          </p:cNvPr>
          <p:cNvCxnSpPr/>
          <p:nvPr/>
        </p:nvCxnSpPr>
        <p:spPr bwMode="gray">
          <a:xfrm>
            <a:off x="4562115" y="1565868"/>
            <a:ext cx="0" cy="413645"/>
          </a:xfrm>
          <a:prstGeom prst="line">
            <a:avLst/>
          </a:prstGeom>
          <a:noFill/>
          <a:ln w="12700" cap="flat" cmpd="sng" algn="ctr">
            <a:solidFill>
              <a:schemeClr val="tx2"/>
            </a:solidFill>
            <a:prstDash val="solid"/>
            <a:headEnd type="none" w="sm" len="sm"/>
            <a:tailEnd type="none" w="sm" len="sm"/>
          </a:ln>
          <a:effectLst/>
        </p:spPr>
      </p:cxnSp>
      <p:sp>
        <p:nvSpPr>
          <p:cNvPr id="122" name="Oval 105">
            <a:extLst>
              <a:ext uri="{FF2B5EF4-FFF2-40B4-BE49-F238E27FC236}">
                <a16:creationId xmlns:a16="http://schemas.microsoft.com/office/drawing/2014/main" id="{6B6283AA-13FF-44ED-BA6F-C6EC4DD39EEF}"/>
              </a:ext>
            </a:extLst>
          </p:cNvPr>
          <p:cNvSpPr/>
          <p:nvPr/>
        </p:nvSpPr>
        <p:spPr bwMode="gray">
          <a:xfrm>
            <a:off x="4231778" y="1957490"/>
            <a:ext cx="660672" cy="660672"/>
          </a:xfrm>
          <a:prstGeom prst="ellipse">
            <a:avLst/>
          </a:prstGeom>
          <a:solidFill>
            <a:schemeClr val="bg1"/>
          </a:solidFill>
          <a:ln w="508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algn="ctr" defTabSz="685577">
              <a:defRPr/>
            </a:pPr>
            <a:endParaRPr lang="fr-FR" sz="800" kern="0">
              <a:solidFill>
                <a:prstClr val="white"/>
              </a:solidFill>
              <a:latin typeface="Delivery"/>
            </a:endParaRPr>
          </a:p>
        </p:txBody>
      </p:sp>
      <p:grpSp>
        <p:nvGrpSpPr>
          <p:cNvPr id="123" name="Group 106">
            <a:extLst>
              <a:ext uri="{FF2B5EF4-FFF2-40B4-BE49-F238E27FC236}">
                <a16:creationId xmlns:a16="http://schemas.microsoft.com/office/drawing/2014/main" id="{C5D05250-D209-4DC7-943F-C9D5990A06B5}"/>
              </a:ext>
            </a:extLst>
          </p:cNvPr>
          <p:cNvGrpSpPr/>
          <p:nvPr/>
        </p:nvGrpSpPr>
        <p:grpSpPr bwMode="gray">
          <a:xfrm flipV="1">
            <a:off x="4208851" y="2513964"/>
            <a:ext cx="706532" cy="634124"/>
            <a:chOff x="857251" y="2219326"/>
            <a:chExt cx="511175" cy="458788"/>
          </a:xfrm>
          <a:solidFill>
            <a:schemeClr val="accent2"/>
          </a:solidFill>
        </p:grpSpPr>
        <p:sp>
          <p:nvSpPr>
            <p:cNvPr id="124" name="Oval 106">
              <a:extLst>
                <a:ext uri="{FF2B5EF4-FFF2-40B4-BE49-F238E27FC236}">
                  <a16:creationId xmlns:a16="http://schemas.microsoft.com/office/drawing/2014/main" id="{E068C3D1-796C-4D2C-9291-49F39838CC1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87438" y="2219326"/>
              <a:ext cx="50800" cy="508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25" name="Oval 107">
              <a:extLst>
                <a:ext uri="{FF2B5EF4-FFF2-40B4-BE49-F238E27FC236}">
                  <a16:creationId xmlns:a16="http://schemas.microsoft.com/office/drawing/2014/main" id="{0BE1AF07-CDE3-4A99-9187-CB6EC7DA55A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538414"/>
              <a:ext cx="17463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26" name="Oval 108">
              <a:extLst>
                <a:ext uri="{FF2B5EF4-FFF2-40B4-BE49-F238E27FC236}">
                  <a16:creationId xmlns:a16="http://schemas.microsoft.com/office/drawing/2014/main" id="{FB7E1481-7044-4262-9A58-60974B79810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498726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27" name="Oval 109">
              <a:extLst>
                <a:ext uri="{FF2B5EF4-FFF2-40B4-BE49-F238E27FC236}">
                  <a16:creationId xmlns:a16="http://schemas.microsoft.com/office/drawing/2014/main" id="{581132BF-2E4B-4F0E-A8C6-AAEC0D39779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457451"/>
              <a:ext cx="17463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28" name="Oval 110">
              <a:extLst>
                <a:ext uri="{FF2B5EF4-FFF2-40B4-BE49-F238E27FC236}">
                  <a16:creationId xmlns:a16="http://schemas.microsoft.com/office/drawing/2014/main" id="{43192139-9D39-4655-A5C2-AA20BD01C53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333626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29" name="Oval 111">
              <a:extLst>
                <a:ext uri="{FF2B5EF4-FFF2-40B4-BE49-F238E27FC236}">
                  <a16:creationId xmlns:a16="http://schemas.microsoft.com/office/drawing/2014/main" id="{CD24936D-3CC2-4BC4-B523-6DBCC4C67C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293939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30" name="Oval 112">
              <a:extLst>
                <a:ext uri="{FF2B5EF4-FFF2-40B4-BE49-F238E27FC236}">
                  <a16:creationId xmlns:a16="http://schemas.microsoft.com/office/drawing/2014/main" id="{DAC94D1A-A37E-43C1-B6DF-216807F3C3A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414589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31" name="Oval 113">
              <a:extLst>
                <a:ext uri="{FF2B5EF4-FFF2-40B4-BE49-F238E27FC236}">
                  <a16:creationId xmlns:a16="http://schemas.microsoft.com/office/drawing/2014/main" id="{5307AAED-27CF-4B4C-92A3-8062D3BB139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03313" y="2373314"/>
              <a:ext cx="17463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32" name="Freeform 114">
              <a:extLst>
                <a:ext uri="{FF2B5EF4-FFF2-40B4-BE49-F238E27FC236}">
                  <a16:creationId xmlns:a16="http://schemas.microsoft.com/office/drawing/2014/main" id="{793A57B8-EFC5-440A-9539-46EF18BB6E5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62038" y="2541589"/>
              <a:ext cx="19050" cy="17463"/>
            </a:xfrm>
            <a:custGeom>
              <a:avLst/>
              <a:gdLst>
                <a:gd name="T0" fmla="*/ 21 w 21"/>
                <a:gd name="T1" fmla="*/ 9 h 21"/>
                <a:gd name="T2" fmla="*/ 12 w 21"/>
                <a:gd name="T3" fmla="*/ 20 h 21"/>
                <a:gd name="T4" fmla="*/ 1 w 21"/>
                <a:gd name="T5" fmla="*/ 12 h 21"/>
                <a:gd name="T6" fmla="*/ 9 w 21"/>
                <a:gd name="T7" fmla="*/ 0 h 21"/>
                <a:gd name="T8" fmla="*/ 21 w 21"/>
                <a:gd name="T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21">
                  <a:moveTo>
                    <a:pt x="21" y="9"/>
                  </a:moveTo>
                  <a:cubicBezTo>
                    <a:pt x="21" y="15"/>
                    <a:pt x="18" y="20"/>
                    <a:pt x="12" y="20"/>
                  </a:cubicBezTo>
                  <a:cubicBezTo>
                    <a:pt x="6" y="21"/>
                    <a:pt x="1" y="17"/>
                    <a:pt x="1" y="12"/>
                  </a:cubicBezTo>
                  <a:cubicBezTo>
                    <a:pt x="0" y="6"/>
                    <a:pt x="4" y="1"/>
                    <a:pt x="9" y="0"/>
                  </a:cubicBezTo>
                  <a:cubicBezTo>
                    <a:pt x="15" y="0"/>
                    <a:pt x="20" y="4"/>
                    <a:pt x="2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33" name="Freeform 115">
              <a:extLst>
                <a:ext uri="{FF2B5EF4-FFF2-40B4-BE49-F238E27FC236}">
                  <a16:creationId xmlns:a16="http://schemas.microsoft.com/office/drawing/2014/main" id="{8415B5F8-F46C-4117-B1BB-3A4D9C0DB64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2351" y="2547939"/>
              <a:ext cx="20638" cy="20638"/>
            </a:xfrm>
            <a:custGeom>
              <a:avLst/>
              <a:gdLst>
                <a:gd name="T0" fmla="*/ 21 w 23"/>
                <a:gd name="T1" fmla="*/ 9 h 23"/>
                <a:gd name="T2" fmla="*/ 14 w 23"/>
                <a:gd name="T3" fmla="*/ 21 h 23"/>
                <a:gd name="T4" fmla="*/ 1 w 23"/>
                <a:gd name="T5" fmla="*/ 14 h 23"/>
                <a:gd name="T6" fmla="*/ 9 w 23"/>
                <a:gd name="T7" fmla="*/ 2 h 23"/>
                <a:gd name="T8" fmla="*/ 21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1" y="9"/>
                  </a:moveTo>
                  <a:cubicBezTo>
                    <a:pt x="23" y="14"/>
                    <a:pt x="19" y="20"/>
                    <a:pt x="14" y="21"/>
                  </a:cubicBezTo>
                  <a:cubicBezTo>
                    <a:pt x="8" y="23"/>
                    <a:pt x="3" y="19"/>
                    <a:pt x="1" y="14"/>
                  </a:cubicBezTo>
                  <a:cubicBezTo>
                    <a:pt x="0" y="9"/>
                    <a:pt x="3" y="3"/>
                    <a:pt x="9" y="2"/>
                  </a:cubicBezTo>
                  <a:cubicBezTo>
                    <a:pt x="14" y="0"/>
                    <a:pt x="20" y="3"/>
                    <a:pt x="2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34" name="Freeform 116">
              <a:extLst>
                <a:ext uri="{FF2B5EF4-FFF2-40B4-BE49-F238E27FC236}">
                  <a16:creationId xmlns:a16="http://schemas.microsoft.com/office/drawing/2014/main" id="{006D85F7-E6B2-40A2-ADB5-1A71B75F7F50}"/>
                </a:ext>
              </a:extLst>
            </p:cNvPr>
            <p:cNvSpPr>
              <a:spLocks/>
            </p:cNvSpPr>
            <p:nvPr/>
          </p:nvSpPr>
          <p:spPr bwMode="gray">
            <a:xfrm>
              <a:off x="984251" y="2560639"/>
              <a:ext cx="19050" cy="20638"/>
            </a:xfrm>
            <a:custGeom>
              <a:avLst/>
              <a:gdLst>
                <a:gd name="T0" fmla="*/ 21 w 23"/>
                <a:gd name="T1" fmla="*/ 7 h 23"/>
                <a:gd name="T2" fmla="*/ 15 w 23"/>
                <a:gd name="T3" fmla="*/ 21 h 23"/>
                <a:gd name="T4" fmla="*/ 2 w 23"/>
                <a:gd name="T5" fmla="*/ 15 h 23"/>
                <a:gd name="T6" fmla="*/ 8 w 23"/>
                <a:gd name="T7" fmla="*/ 2 h 23"/>
                <a:gd name="T8" fmla="*/ 21 w 23"/>
                <a:gd name="T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1" y="7"/>
                  </a:moveTo>
                  <a:cubicBezTo>
                    <a:pt x="23" y="13"/>
                    <a:pt x="21" y="19"/>
                    <a:pt x="15" y="21"/>
                  </a:cubicBezTo>
                  <a:cubicBezTo>
                    <a:pt x="10" y="23"/>
                    <a:pt x="4" y="20"/>
                    <a:pt x="2" y="15"/>
                  </a:cubicBezTo>
                  <a:cubicBezTo>
                    <a:pt x="0" y="10"/>
                    <a:pt x="2" y="4"/>
                    <a:pt x="8" y="2"/>
                  </a:cubicBezTo>
                  <a:cubicBezTo>
                    <a:pt x="13" y="0"/>
                    <a:pt x="19" y="2"/>
                    <a:pt x="2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35" name="Freeform 117">
              <a:extLst>
                <a:ext uri="{FF2B5EF4-FFF2-40B4-BE49-F238E27FC236}">
                  <a16:creationId xmlns:a16="http://schemas.microsoft.com/office/drawing/2014/main" id="{E9E33B1E-58AE-4AF6-84E8-06D11CA25E37}"/>
                </a:ext>
              </a:extLst>
            </p:cNvPr>
            <p:cNvSpPr>
              <a:spLocks/>
            </p:cNvSpPr>
            <p:nvPr/>
          </p:nvSpPr>
          <p:spPr bwMode="gray">
            <a:xfrm>
              <a:off x="946151" y="2578101"/>
              <a:ext cx="22225" cy="20638"/>
            </a:xfrm>
            <a:custGeom>
              <a:avLst/>
              <a:gdLst>
                <a:gd name="T0" fmla="*/ 21 w 24"/>
                <a:gd name="T1" fmla="*/ 7 h 23"/>
                <a:gd name="T2" fmla="*/ 17 w 24"/>
                <a:gd name="T3" fmla="*/ 21 h 23"/>
                <a:gd name="T4" fmla="*/ 3 w 24"/>
                <a:gd name="T5" fmla="*/ 17 h 23"/>
                <a:gd name="T6" fmla="*/ 7 w 24"/>
                <a:gd name="T7" fmla="*/ 3 h 23"/>
                <a:gd name="T8" fmla="*/ 21 w 24"/>
                <a:gd name="T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21" y="7"/>
                  </a:moveTo>
                  <a:cubicBezTo>
                    <a:pt x="24" y="12"/>
                    <a:pt x="22" y="18"/>
                    <a:pt x="17" y="21"/>
                  </a:cubicBezTo>
                  <a:cubicBezTo>
                    <a:pt x="12" y="23"/>
                    <a:pt x="6" y="22"/>
                    <a:pt x="3" y="17"/>
                  </a:cubicBezTo>
                  <a:cubicBezTo>
                    <a:pt x="0" y="12"/>
                    <a:pt x="2" y="6"/>
                    <a:pt x="7" y="3"/>
                  </a:cubicBezTo>
                  <a:cubicBezTo>
                    <a:pt x="12" y="0"/>
                    <a:pt x="18" y="2"/>
                    <a:pt x="2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36" name="Freeform 118">
              <a:extLst>
                <a:ext uri="{FF2B5EF4-FFF2-40B4-BE49-F238E27FC236}">
                  <a16:creationId xmlns:a16="http://schemas.microsoft.com/office/drawing/2014/main" id="{339356B9-8E3F-4789-BB80-C7994ED17C97}"/>
                </a:ext>
              </a:extLst>
            </p:cNvPr>
            <p:cNvSpPr>
              <a:spLocks/>
            </p:cNvSpPr>
            <p:nvPr/>
          </p:nvSpPr>
          <p:spPr bwMode="gray">
            <a:xfrm>
              <a:off x="912813" y="2601914"/>
              <a:ext cx="20638" cy="19050"/>
            </a:xfrm>
            <a:custGeom>
              <a:avLst/>
              <a:gdLst>
                <a:gd name="T0" fmla="*/ 20 w 23"/>
                <a:gd name="T1" fmla="*/ 5 h 23"/>
                <a:gd name="T2" fmla="*/ 18 w 23"/>
                <a:gd name="T3" fmla="*/ 20 h 23"/>
                <a:gd name="T4" fmla="*/ 3 w 23"/>
                <a:gd name="T5" fmla="*/ 18 h 23"/>
                <a:gd name="T6" fmla="*/ 5 w 23"/>
                <a:gd name="T7" fmla="*/ 3 h 23"/>
                <a:gd name="T8" fmla="*/ 20 w 23"/>
                <a:gd name="T9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0" y="5"/>
                  </a:moveTo>
                  <a:cubicBezTo>
                    <a:pt x="23" y="10"/>
                    <a:pt x="22" y="16"/>
                    <a:pt x="18" y="20"/>
                  </a:cubicBezTo>
                  <a:cubicBezTo>
                    <a:pt x="13" y="23"/>
                    <a:pt x="7" y="22"/>
                    <a:pt x="3" y="18"/>
                  </a:cubicBezTo>
                  <a:cubicBezTo>
                    <a:pt x="0" y="13"/>
                    <a:pt x="1" y="7"/>
                    <a:pt x="5" y="3"/>
                  </a:cubicBezTo>
                  <a:cubicBezTo>
                    <a:pt x="10" y="0"/>
                    <a:pt x="16" y="1"/>
                    <a:pt x="2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37" name="Freeform 119">
              <a:extLst>
                <a:ext uri="{FF2B5EF4-FFF2-40B4-BE49-F238E27FC236}">
                  <a16:creationId xmlns:a16="http://schemas.microsoft.com/office/drawing/2014/main" id="{DBD3A820-66F5-42DF-A5BE-514392F12D95}"/>
                </a:ext>
              </a:extLst>
            </p:cNvPr>
            <p:cNvSpPr>
              <a:spLocks/>
            </p:cNvSpPr>
            <p:nvPr/>
          </p:nvSpPr>
          <p:spPr bwMode="gray">
            <a:xfrm>
              <a:off x="884238" y="2628901"/>
              <a:ext cx="19050" cy="19050"/>
            </a:xfrm>
            <a:custGeom>
              <a:avLst/>
              <a:gdLst>
                <a:gd name="T0" fmla="*/ 18 w 22"/>
                <a:gd name="T1" fmla="*/ 4 h 22"/>
                <a:gd name="T2" fmla="*/ 18 w 22"/>
                <a:gd name="T3" fmla="*/ 18 h 22"/>
                <a:gd name="T4" fmla="*/ 4 w 22"/>
                <a:gd name="T5" fmla="*/ 18 h 22"/>
                <a:gd name="T6" fmla="*/ 4 w 22"/>
                <a:gd name="T7" fmla="*/ 4 h 22"/>
                <a:gd name="T8" fmla="*/ 18 w 22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8" y="4"/>
                  </a:moveTo>
                  <a:cubicBezTo>
                    <a:pt x="22" y="8"/>
                    <a:pt x="22" y="14"/>
                    <a:pt x="18" y="18"/>
                  </a:cubicBezTo>
                  <a:cubicBezTo>
                    <a:pt x="14" y="22"/>
                    <a:pt x="8" y="22"/>
                    <a:pt x="4" y="18"/>
                  </a:cubicBezTo>
                  <a:cubicBezTo>
                    <a:pt x="0" y="14"/>
                    <a:pt x="0" y="8"/>
                    <a:pt x="4" y="4"/>
                  </a:cubicBezTo>
                  <a:cubicBezTo>
                    <a:pt x="8" y="0"/>
                    <a:pt x="14" y="0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38" name="Freeform 120">
              <a:extLst>
                <a:ext uri="{FF2B5EF4-FFF2-40B4-BE49-F238E27FC236}">
                  <a16:creationId xmlns:a16="http://schemas.microsoft.com/office/drawing/2014/main" id="{D5D40CA6-BE7B-463E-B6D0-9A415CD44A8A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251" y="2659064"/>
              <a:ext cx="19050" cy="19050"/>
            </a:xfrm>
            <a:custGeom>
              <a:avLst/>
              <a:gdLst>
                <a:gd name="T0" fmla="*/ 18 w 23"/>
                <a:gd name="T1" fmla="*/ 4 h 23"/>
                <a:gd name="T2" fmla="*/ 19 w 23"/>
                <a:gd name="T3" fmla="*/ 18 h 23"/>
                <a:gd name="T4" fmla="*/ 5 w 23"/>
                <a:gd name="T5" fmla="*/ 20 h 23"/>
                <a:gd name="T6" fmla="*/ 3 w 23"/>
                <a:gd name="T7" fmla="*/ 5 h 23"/>
                <a:gd name="T8" fmla="*/ 18 w 23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8" y="4"/>
                  </a:moveTo>
                  <a:cubicBezTo>
                    <a:pt x="22" y="7"/>
                    <a:pt x="23" y="13"/>
                    <a:pt x="19" y="18"/>
                  </a:cubicBezTo>
                  <a:cubicBezTo>
                    <a:pt x="16" y="22"/>
                    <a:pt x="10" y="23"/>
                    <a:pt x="5" y="20"/>
                  </a:cubicBezTo>
                  <a:cubicBezTo>
                    <a:pt x="1" y="16"/>
                    <a:pt x="0" y="10"/>
                    <a:pt x="3" y="5"/>
                  </a:cubicBezTo>
                  <a:cubicBezTo>
                    <a:pt x="7" y="1"/>
                    <a:pt x="13" y="0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39" name="Freeform 121">
              <a:extLst>
                <a:ext uri="{FF2B5EF4-FFF2-40B4-BE49-F238E27FC236}">
                  <a16:creationId xmlns:a16="http://schemas.microsoft.com/office/drawing/2014/main" id="{49DFC74B-E333-4104-9638-601DE7C4EE1F}"/>
                </a:ext>
              </a:extLst>
            </p:cNvPr>
            <p:cNvSpPr>
              <a:spLocks/>
            </p:cNvSpPr>
            <p:nvPr/>
          </p:nvSpPr>
          <p:spPr bwMode="gray">
            <a:xfrm>
              <a:off x="884238" y="2628901"/>
              <a:ext cx="19050" cy="19050"/>
            </a:xfrm>
            <a:custGeom>
              <a:avLst/>
              <a:gdLst>
                <a:gd name="T0" fmla="*/ 18 w 22"/>
                <a:gd name="T1" fmla="*/ 4 h 22"/>
                <a:gd name="T2" fmla="*/ 18 w 22"/>
                <a:gd name="T3" fmla="*/ 18 h 22"/>
                <a:gd name="T4" fmla="*/ 4 w 22"/>
                <a:gd name="T5" fmla="*/ 18 h 22"/>
                <a:gd name="T6" fmla="*/ 4 w 22"/>
                <a:gd name="T7" fmla="*/ 4 h 22"/>
                <a:gd name="T8" fmla="*/ 18 w 22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8" y="4"/>
                  </a:moveTo>
                  <a:cubicBezTo>
                    <a:pt x="22" y="8"/>
                    <a:pt x="22" y="14"/>
                    <a:pt x="18" y="18"/>
                  </a:cubicBezTo>
                  <a:cubicBezTo>
                    <a:pt x="14" y="22"/>
                    <a:pt x="8" y="22"/>
                    <a:pt x="4" y="18"/>
                  </a:cubicBezTo>
                  <a:cubicBezTo>
                    <a:pt x="0" y="14"/>
                    <a:pt x="0" y="8"/>
                    <a:pt x="4" y="4"/>
                  </a:cubicBezTo>
                  <a:cubicBezTo>
                    <a:pt x="8" y="0"/>
                    <a:pt x="14" y="0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40" name="Freeform 122">
              <a:extLst>
                <a:ext uri="{FF2B5EF4-FFF2-40B4-BE49-F238E27FC236}">
                  <a16:creationId xmlns:a16="http://schemas.microsoft.com/office/drawing/2014/main" id="{1B9D2ABE-99D0-4B62-9C88-559852840A9E}"/>
                </a:ext>
              </a:extLst>
            </p:cNvPr>
            <p:cNvSpPr>
              <a:spLocks/>
            </p:cNvSpPr>
            <p:nvPr/>
          </p:nvSpPr>
          <p:spPr bwMode="gray">
            <a:xfrm>
              <a:off x="857251" y="2659064"/>
              <a:ext cx="19050" cy="19050"/>
            </a:xfrm>
            <a:custGeom>
              <a:avLst/>
              <a:gdLst>
                <a:gd name="T0" fmla="*/ 18 w 23"/>
                <a:gd name="T1" fmla="*/ 4 h 23"/>
                <a:gd name="T2" fmla="*/ 19 w 23"/>
                <a:gd name="T3" fmla="*/ 18 h 23"/>
                <a:gd name="T4" fmla="*/ 5 w 23"/>
                <a:gd name="T5" fmla="*/ 20 h 23"/>
                <a:gd name="T6" fmla="*/ 3 w 23"/>
                <a:gd name="T7" fmla="*/ 5 h 23"/>
                <a:gd name="T8" fmla="*/ 18 w 23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8" y="4"/>
                  </a:moveTo>
                  <a:cubicBezTo>
                    <a:pt x="22" y="7"/>
                    <a:pt x="23" y="13"/>
                    <a:pt x="19" y="18"/>
                  </a:cubicBezTo>
                  <a:cubicBezTo>
                    <a:pt x="16" y="22"/>
                    <a:pt x="10" y="23"/>
                    <a:pt x="5" y="20"/>
                  </a:cubicBezTo>
                  <a:cubicBezTo>
                    <a:pt x="1" y="16"/>
                    <a:pt x="0" y="10"/>
                    <a:pt x="3" y="5"/>
                  </a:cubicBezTo>
                  <a:cubicBezTo>
                    <a:pt x="7" y="1"/>
                    <a:pt x="13" y="0"/>
                    <a:pt x="1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41" name="Freeform 123">
              <a:extLst>
                <a:ext uri="{FF2B5EF4-FFF2-40B4-BE49-F238E27FC236}">
                  <a16:creationId xmlns:a16="http://schemas.microsoft.com/office/drawing/2014/main" id="{36EA864E-5AE7-48C7-B3FD-C5F883BDADB2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3001" y="2541589"/>
              <a:ext cx="19050" cy="17463"/>
            </a:xfrm>
            <a:custGeom>
              <a:avLst/>
              <a:gdLst>
                <a:gd name="T0" fmla="*/ 1 w 22"/>
                <a:gd name="T1" fmla="*/ 9 h 21"/>
                <a:gd name="T2" fmla="*/ 10 w 22"/>
                <a:gd name="T3" fmla="*/ 20 h 21"/>
                <a:gd name="T4" fmla="*/ 21 w 22"/>
                <a:gd name="T5" fmla="*/ 12 h 21"/>
                <a:gd name="T6" fmla="*/ 12 w 22"/>
                <a:gd name="T7" fmla="*/ 0 h 21"/>
                <a:gd name="T8" fmla="*/ 1 w 22"/>
                <a:gd name="T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1">
                  <a:moveTo>
                    <a:pt x="1" y="9"/>
                  </a:moveTo>
                  <a:cubicBezTo>
                    <a:pt x="0" y="15"/>
                    <a:pt x="4" y="20"/>
                    <a:pt x="10" y="20"/>
                  </a:cubicBezTo>
                  <a:cubicBezTo>
                    <a:pt x="15" y="21"/>
                    <a:pt x="20" y="17"/>
                    <a:pt x="21" y="12"/>
                  </a:cubicBezTo>
                  <a:cubicBezTo>
                    <a:pt x="22" y="6"/>
                    <a:pt x="18" y="1"/>
                    <a:pt x="12" y="0"/>
                  </a:cubicBezTo>
                  <a:cubicBezTo>
                    <a:pt x="7" y="0"/>
                    <a:pt x="2" y="4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42" name="Freeform 124">
              <a:extLst>
                <a:ext uri="{FF2B5EF4-FFF2-40B4-BE49-F238E27FC236}">
                  <a16:creationId xmlns:a16="http://schemas.microsoft.com/office/drawing/2014/main" id="{39E187B9-D547-4180-9DA2-04F9346E98D8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2688" y="2547939"/>
              <a:ext cx="19050" cy="20638"/>
            </a:xfrm>
            <a:custGeom>
              <a:avLst/>
              <a:gdLst>
                <a:gd name="T0" fmla="*/ 1 w 23"/>
                <a:gd name="T1" fmla="*/ 9 h 23"/>
                <a:gd name="T2" fmla="*/ 9 w 23"/>
                <a:gd name="T3" fmla="*/ 21 h 23"/>
                <a:gd name="T4" fmla="*/ 21 w 23"/>
                <a:gd name="T5" fmla="*/ 14 h 23"/>
                <a:gd name="T6" fmla="*/ 14 w 23"/>
                <a:gd name="T7" fmla="*/ 2 h 23"/>
                <a:gd name="T8" fmla="*/ 1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9"/>
                  </a:moveTo>
                  <a:cubicBezTo>
                    <a:pt x="0" y="14"/>
                    <a:pt x="3" y="20"/>
                    <a:pt x="9" y="21"/>
                  </a:cubicBezTo>
                  <a:cubicBezTo>
                    <a:pt x="14" y="23"/>
                    <a:pt x="20" y="19"/>
                    <a:pt x="21" y="14"/>
                  </a:cubicBezTo>
                  <a:cubicBezTo>
                    <a:pt x="23" y="9"/>
                    <a:pt x="19" y="3"/>
                    <a:pt x="14" y="2"/>
                  </a:cubicBezTo>
                  <a:cubicBezTo>
                    <a:pt x="8" y="0"/>
                    <a:pt x="3" y="3"/>
                    <a:pt x="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43" name="Freeform 125">
              <a:extLst>
                <a:ext uri="{FF2B5EF4-FFF2-40B4-BE49-F238E27FC236}">
                  <a16:creationId xmlns:a16="http://schemas.microsoft.com/office/drawing/2014/main" id="{422A1B51-9D27-4D7B-98B9-D6F6CA1C29CD}"/>
                </a:ext>
              </a:extLst>
            </p:cNvPr>
            <p:cNvSpPr>
              <a:spLocks/>
            </p:cNvSpPr>
            <p:nvPr/>
          </p:nvSpPr>
          <p:spPr bwMode="gray">
            <a:xfrm>
              <a:off x="1219201" y="2560639"/>
              <a:ext cx="22225" cy="20638"/>
            </a:xfrm>
            <a:custGeom>
              <a:avLst/>
              <a:gdLst>
                <a:gd name="T0" fmla="*/ 3 w 24"/>
                <a:gd name="T1" fmla="*/ 7 h 23"/>
                <a:gd name="T2" fmla="*/ 8 w 24"/>
                <a:gd name="T3" fmla="*/ 21 h 23"/>
                <a:gd name="T4" fmla="*/ 21 w 24"/>
                <a:gd name="T5" fmla="*/ 15 h 23"/>
                <a:gd name="T6" fmla="*/ 16 w 24"/>
                <a:gd name="T7" fmla="*/ 2 h 23"/>
                <a:gd name="T8" fmla="*/ 3 w 24"/>
                <a:gd name="T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3">
                  <a:moveTo>
                    <a:pt x="3" y="7"/>
                  </a:moveTo>
                  <a:cubicBezTo>
                    <a:pt x="0" y="13"/>
                    <a:pt x="3" y="19"/>
                    <a:pt x="8" y="21"/>
                  </a:cubicBezTo>
                  <a:cubicBezTo>
                    <a:pt x="13" y="23"/>
                    <a:pt x="19" y="20"/>
                    <a:pt x="21" y="15"/>
                  </a:cubicBezTo>
                  <a:cubicBezTo>
                    <a:pt x="24" y="10"/>
                    <a:pt x="21" y="4"/>
                    <a:pt x="16" y="2"/>
                  </a:cubicBezTo>
                  <a:cubicBezTo>
                    <a:pt x="11" y="0"/>
                    <a:pt x="5" y="2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44" name="Freeform 126">
              <a:extLst>
                <a:ext uri="{FF2B5EF4-FFF2-40B4-BE49-F238E27FC236}">
                  <a16:creationId xmlns:a16="http://schemas.microsoft.com/office/drawing/2014/main" id="{177916AB-1E0C-480D-80A7-886779B019C1}"/>
                </a:ext>
              </a:extLst>
            </p:cNvPr>
            <p:cNvSpPr>
              <a:spLocks/>
            </p:cNvSpPr>
            <p:nvPr/>
          </p:nvSpPr>
          <p:spPr bwMode="gray">
            <a:xfrm>
              <a:off x="1257301" y="2578101"/>
              <a:ext cx="19050" cy="20638"/>
            </a:xfrm>
            <a:custGeom>
              <a:avLst/>
              <a:gdLst>
                <a:gd name="T0" fmla="*/ 3 w 23"/>
                <a:gd name="T1" fmla="*/ 7 h 23"/>
                <a:gd name="T2" fmla="*/ 6 w 23"/>
                <a:gd name="T3" fmla="*/ 21 h 23"/>
                <a:gd name="T4" fmla="*/ 20 w 23"/>
                <a:gd name="T5" fmla="*/ 17 h 23"/>
                <a:gd name="T6" fmla="*/ 17 w 23"/>
                <a:gd name="T7" fmla="*/ 3 h 23"/>
                <a:gd name="T8" fmla="*/ 3 w 23"/>
                <a:gd name="T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3" y="7"/>
                  </a:moveTo>
                  <a:cubicBezTo>
                    <a:pt x="0" y="12"/>
                    <a:pt x="2" y="18"/>
                    <a:pt x="6" y="21"/>
                  </a:cubicBezTo>
                  <a:cubicBezTo>
                    <a:pt x="11" y="23"/>
                    <a:pt x="17" y="22"/>
                    <a:pt x="20" y="17"/>
                  </a:cubicBezTo>
                  <a:cubicBezTo>
                    <a:pt x="23" y="12"/>
                    <a:pt x="21" y="6"/>
                    <a:pt x="17" y="3"/>
                  </a:cubicBezTo>
                  <a:cubicBezTo>
                    <a:pt x="12" y="0"/>
                    <a:pt x="5" y="2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45" name="Freeform 127">
              <a:extLst>
                <a:ext uri="{FF2B5EF4-FFF2-40B4-BE49-F238E27FC236}">
                  <a16:creationId xmlns:a16="http://schemas.microsoft.com/office/drawing/2014/main" id="{F9C8FB62-101B-473D-88A4-B56C2542AD4D}"/>
                </a:ext>
              </a:extLst>
            </p:cNvPr>
            <p:cNvSpPr>
              <a:spLocks/>
            </p:cNvSpPr>
            <p:nvPr/>
          </p:nvSpPr>
          <p:spPr bwMode="gray">
            <a:xfrm>
              <a:off x="1290638" y="2601914"/>
              <a:ext cx="19050" cy="19050"/>
            </a:xfrm>
            <a:custGeom>
              <a:avLst/>
              <a:gdLst>
                <a:gd name="T0" fmla="*/ 4 w 23"/>
                <a:gd name="T1" fmla="*/ 5 h 23"/>
                <a:gd name="T2" fmla="*/ 6 w 23"/>
                <a:gd name="T3" fmla="*/ 20 h 23"/>
                <a:gd name="T4" fmla="*/ 20 w 23"/>
                <a:gd name="T5" fmla="*/ 18 h 23"/>
                <a:gd name="T6" fmla="*/ 18 w 23"/>
                <a:gd name="T7" fmla="*/ 3 h 23"/>
                <a:gd name="T8" fmla="*/ 4 w 23"/>
                <a:gd name="T9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4" y="5"/>
                  </a:moveTo>
                  <a:cubicBezTo>
                    <a:pt x="0" y="10"/>
                    <a:pt x="1" y="16"/>
                    <a:pt x="6" y="20"/>
                  </a:cubicBezTo>
                  <a:cubicBezTo>
                    <a:pt x="10" y="23"/>
                    <a:pt x="17" y="22"/>
                    <a:pt x="20" y="18"/>
                  </a:cubicBezTo>
                  <a:cubicBezTo>
                    <a:pt x="23" y="13"/>
                    <a:pt x="23" y="7"/>
                    <a:pt x="18" y="3"/>
                  </a:cubicBezTo>
                  <a:cubicBezTo>
                    <a:pt x="14" y="0"/>
                    <a:pt x="7" y="1"/>
                    <a:pt x="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46" name="Freeform 128">
              <a:extLst>
                <a:ext uri="{FF2B5EF4-FFF2-40B4-BE49-F238E27FC236}">
                  <a16:creationId xmlns:a16="http://schemas.microsoft.com/office/drawing/2014/main" id="{26DDB7CB-F09C-4080-AD7E-AB2309A55786}"/>
                </a:ext>
              </a:extLst>
            </p:cNvPr>
            <p:cNvSpPr>
              <a:spLocks/>
            </p:cNvSpPr>
            <p:nvPr/>
          </p:nvSpPr>
          <p:spPr bwMode="gray">
            <a:xfrm>
              <a:off x="1320801" y="2628901"/>
              <a:ext cx="20638" cy="19050"/>
            </a:xfrm>
            <a:custGeom>
              <a:avLst/>
              <a:gdLst>
                <a:gd name="T0" fmla="*/ 4 w 22"/>
                <a:gd name="T1" fmla="*/ 4 h 22"/>
                <a:gd name="T2" fmla="*/ 4 w 22"/>
                <a:gd name="T3" fmla="*/ 18 h 22"/>
                <a:gd name="T4" fmla="*/ 18 w 22"/>
                <a:gd name="T5" fmla="*/ 18 h 22"/>
                <a:gd name="T6" fmla="*/ 18 w 22"/>
                <a:gd name="T7" fmla="*/ 4 h 22"/>
                <a:gd name="T8" fmla="*/ 4 w 22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4" y="4"/>
                  </a:moveTo>
                  <a:cubicBezTo>
                    <a:pt x="0" y="8"/>
                    <a:pt x="0" y="14"/>
                    <a:pt x="4" y="18"/>
                  </a:cubicBezTo>
                  <a:cubicBezTo>
                    <a:pt x="7" y="22"/>
                    <a:pt x="14" y="22"/>
                    <a:pt x="18" y="18"/>
                  </a:cubicBezTo>
                  <a:cubicBezTo>
                    <a:pt x="22" y="14"/>
                    <a:pt x="22" y="8"/>
                    <a:pt x="18" y="4"/>
                  </a:cubicBezTo>
                  <a:cubicBezTo>
                    <a:pt x="14" y="0"/>
                    <a:pt x="7" y="0"/>
                    <a:pt x="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  <p:sp>
          <p:nvSpPr>
            <p:cNvPr id="147" name="Freeform 129">
              <a:extLst>
                <a:ext uri="{FF2B5EF4-FFF2-40B4-BE49-F238E27FC236}">
                  <a16:creationId xmlns:a16="http://schemas.microsoft.com/office/drawing/2014/main" id="{83AB9EE1-A8F7-4392-81B4-2A29F764AE9D}"/>
                </a:ext>
              </a:extLst>
            </p:cNvPr>
            <p:cNvSpPr>
              <a:spLocks/>
            </p:cNvSpPr>
            <p:nvPr/>
          </p:nvSpPr>
          <p:spPr bwMode="gray">
            <a:xfrm>
              <a:off x="1347788" y="2659064"/>
              <a:ext cx="20638" cy="19050"/>
            </a:xfrm>
            <a:custGeom>
              <a:avLst/>
              <a:gdLst>
                <a:gd name="T0" fmla="*/ 5 w 23"/>
                <a:gd name="T1" fmla="*/ 4 h 23"/>
                <a:gd name="T2" fmla="*/ 3 w 23"/>
                <a:gd name="T3" fmla="*/ 18 h 23"/>
                <a:gd name="T4" fmla="*/ 17 w 23"/>
                <a:gd name="T5" fmla="*/ 20 h 23"/>
                <a:gd name="T6" fmla="*/ 19 w 23"/>
                <a:gd name="T7" fmla="*/ 5 h 23"/>
                <a:gd name="T8" fmla="*/ 5 w 23"/>
                <a:gd name="T9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5" y="4"/>
                  </a:moveTo>
                  <a:cubicBezTo>
                    <a:pt x="1" y="7"/>
                    <a:pt x="0" y="13"/>
                    <a:pt x="3" y="18"/>
                  </a:cubicBezTo>
                  <a:cubicBezTo>
                    <a:pt x="7" y="22"/>
                    <a:pt x="13" y="23"/>
                    <a:pt x="17" y="20"/>
                  </a:cubicBezTo>
                  <a:cubicBezTo>
                    <a:pt x="22" y="16"/>
                    <a:pt x="23" y="10"/>
                    <a:pt x="19" y="5"/>
                  </a:cubicBezTo>
                  <a:cubicBezTo>
                    <a:pt x="16" y="1"/>
                    <a:pt x="9" y="0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800" kern="0">
                <a:solidFill>
                  <a:srgbClr val="434547"/>
                </a:solidFill>
                <a:latin typeface="Delivery"/>
              </a:endParaRPr>
            </a:p>
          </p:txBody>
        </p:sp>
      </p:grpSp>
      <p:grpSp>
        <p:nvGrpSpPr>
          <p:cNvPr id="208" name="Group 191">
            <a:extLst>
              <a:ext uri="{FF2B5EF4-FFF2-40B4-BE49-F238E27FC236}">
                <a16:creationId xmlns:a16="http://schemas.microsoft.com/office/drawing/2014/main" id="{BCF34466-BF7F-4A40-87BC-EEBA0FC0923D}"/>
              </a:ext>
            </a:extLst>
          </p:cNvPr>
          <p:cNvGrpSpPr/>
          <p:nvPr/>
        </p:nvGrpSpPr>
        <p:grpSpPr bwMode="gray">
          <a:xfrm>
            <a:off x="4319938" y="2150020"/>
            <a:ext cx="484352" cy="275628"/>
            <a:chOff x="1071563" y="2130425"/>
            <a:chExt cx="574675" cy="327026"/>
          </a:xfrm>
          <a:solidFill>
            <a:srgbClr val="007C39"/>
          </a:solidFill>
        </p:grpSpPr>
        <p:sp>
          <p:nvSpPr>
            <p:cNvPr id="223" name="Oval 45">
              <a:extLst>
                <a:ext uri="{FF2B5EF4-FFF2-40B4-BE49-F238E27FC236}">
                  <a16:creationId xmlns:a16="http://schemas.microsoft.com/office/drawing/2014/main" id="{0290C001-66D8-4178-985D-FCC955A5BA1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46175" y="2370138"/>
              <a:ext cx="82550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1400">
                <a:solidFill>
                  <a:prstClr val="black"/>
                </a:solidFill>
                <a:latin typeface="Delivery"/>
              </a:endParaRPr>
            </a:p>
          </p:txBody>
        </p:sp>
        <p:sp>
          <p:nvSpPr>
            <p:cNvPr id="224" name="Oval 46">
              <a:extLst>
                <a:ext uri="{FF2B5EF4-FFF2-40B4-BE49-F238E27FC236}">
                  <a16:creationId xmlns:a16="http://schemas.microsoft.com/office/drawing/2014/main" id="{3FE57B5E-CBB3-4853-B6BD-1C0A3092BC7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498600" y="2370138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1400">
                <a:solidFill>
                  <a:prstClr val="black"/>
                </a:solidFill>
                <a:latin typeface="Delivery"/>
              </a:endParaRPr>
            </a:p>
          </p:txBody>
        </p:sp>
        <p:sp>
          <p:nvSpPr>
            <p:cNvPr id="225" name="Freeform 47">
              <a:extLst>
                <a:ext uri="{FF2B5EF4-FFF2-40B4-BE49-F238E27FC236}">
                  <a16:creationId xmlns:a16="http://schemas.microsoft.com/office/drawing/2014/main" id="{21C17634-2799-4A18-BF39-DAB926C289D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71563" y="2130425"/>
              <a:ext cx="574675" cy="274638"/>
            </a:xfrm>
            <a:custGeom>
              <a:avLst/>
              <a:gdLst>
                <a:gd name="T0" fmla="*/ 145 w 153"/>
                <a:gd name="T1" fmla="*/ 38 h 73"/>
                <a:gd name="T2" fmla="*/ 113 w 153"/>
                <a:gd name="T3" fmla="*/ 6 h 73"/>
                <a:gd name="T4" fmla="*/ 101 w 153"/>
                <a:gd name="T5" fmla="*/ 0 h 73"/>
                <a:gd name="T6" fmla="*/ 10 w 153"/>
                <a:gd name="T7" fmla="*/ 0 h 73"/>
                <a:gd name="T8" fmla="*/ 0 w 153"/>
                <a:gd name="T9" fmla="*/ 9 h 73"/>
                <a:gd name="T10" fmla="*/ 0 w 153"/>
                <a:gd name="T11" fmla="*/ 73 h 73"/>
                <a:gd name="T12" fmla="*/ 13 w 153"/>
                <a:gd name="T13" fmla="*/ 73 h 73"/>
                <a:gd name="T14" fmla="*/ 31 w 153"/>
                <a:gd name="T15" fmla="*/ 57 h 73"/>
                <a:gd name="T16" fmla="*/ 48 w 153"/>
                <a:gd name="T17" fmla="*/ 73 h 73"/>
                <a:gd name="T18" fmla="*/ 108 w 153"/>
                <a:gd name="T19" fmla="*/ 73 h 73"/>
                <a:gd name="T20" fmla="*/ 126 w 153"/>
                <a:gd name="T21" fmla="*/ 57 h 73"/>
                <a:gd name="T22" fmla="*/ 143 w 153"/>
                <a:gd name="T23" fmla="*/ 73 h 73"/>
                <a:gd name="T24" fmla="*/ 143 w 153"/>
                <a:gd name="T25" fmla="*/ 73 h 73"/>
                <a:gd name="T26" fmla="*/ 151 w 153"/>
                <a:gd name="T27" fmla="*/ 73 h 73"/>
                <a:gd name="T28" fmla="*/ 153 w 153"/>
                <a:gd name="T29" fmla="*/ 57 h 73"/>
                <a:gd name="T30" fmla="*/ 145 w 153"/>
                <a:gd name="T31" fmla="*/ 38 h 73"/>
                <a:gd name="T32" fmla="*/ 104 w 153"/>
                <a:gd name="T33" fmla="*/ 36 h 73"/>
                <a:gd name="T34" fmla="*/ 101 w 153"/>
                <a:gd name="T35" fmla="*/ 33 h 73"/>
                <a:gd name="T36" fmla="*/ 101 w 153"/>
                <a:gd name="T37" fmla="*/ 18 h 73"/>
                <a:gd name="T38" fmla="*/ 104 w 153"/>
                <a:gd name="T39" fmla="*/ 15 h 73"/>
                <a:gd name="T40" fmla="*/ 113 w 153"/>
                <a:gd name="T41" fmla="*/ 15 h 73"/>
                <a:gd name="T42" fmla="*/ 134 w 153"/>
                <a:gd name="T43" fmla="*/ 36 h 73"/>
                <a:gd name="T44" fmla="*/ 104 w 153"/>
                <a:gd name="T45" fmla="*/ 3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3" h="73">
                  <a:moveTo>
                    <a:pt x="145" y="38"/>
                  </a:moveTo>
                  <a:cubicBezTo>
                    <a:pt x="138" y="31"/>
                    <a:pt x="113" y="6"/>
                    <a:pt x="113" y="6"/>
                  </a:cubicBezTo>
                  <a:cubicBezTo>
                    <a:pt x="113" y="6"/>
                    <a:pt x="109" y="0"/>
                    <a:pt x="101" y="0"/>
                  </a:cubicBezTo>
                  <a:cubicBezTo>
                    <a:pt x="92" y="0"/>
                    <a:pt x="19" y="0"/>
                    <a:pt x="10" y="0"/>
                  </a:cubicBezTo>
                  <a:cubicBezTo>
                    <a:pt x="1" y="0"/>
                    <a:pt x="0" y="9"/>
                    <a:pt x="0" y="9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3" y="73"/>
                    <a:pt x="13" y="73"/>
                    <a:pt x="13" y="73"/>
                  </a:cubicBezTo>
                  <a:cubicBezTo>
                    <a:pt x="14" y="64"/>
                    <a:pt x="22" y="57"/>
                    <a:pt x="31" y="57"/>
                  </a:cubicBezTo>
                  <a:cubicBezTo>
                    <a:pt x="40" y="57"/>
                    <a:pt x="47" y="64"/>
                    <a:pt x="48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9" y="64"/>
                    <a:pt x="117" y="57"/>
                    <a:pt x="126" y="57"/>
                  </a:cubicBezTo>
                  <a:cubicBezTo>
                    <a:pt x="135" y="57"/>
                    <a:pt x="142" y="64"/>
                    <a:pt x="143" y="73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3" y="73"/>
                    <a:pt x="149" y="73"/>
                    <a:pt x="151" y="73"/>
                  </a:cubicBezTo>
                  <a:cubicBezTo>
                    <a:pt x="152" y="73"/>
                    <a:pt x="153" y="57"/>
                    <a:pt x="153" y="57"/>
                  </a:cubicBezTo>
                  <a:cubicBezTo>
                    <a:pt x="153" y="57"/>
                    <a:pt x="153" y="45"/>
                    <a:pt x="145" y="38"/>
                  </a:cubicBezTo>
                  <a:close/>
                  <a:moveTo>
                    <a:pt x="104" y="36"/>
                  </a:moveTo>
                  <a:cubicBezTo>
                    <a:pt x="101" y="36"/>
                    <a:pt x="101" y="34"/>
                    <a:pt x="101" y="33"/>
                  </a:cubicBezTo>
                  <a:cubicBezTo>
                    <a:pt x="101" y="31"/>
                    <a:pt x="101" y="18"/>
                    <a:pt x="101" y="18"/>
                  </a:cubicBezTo>
                  <a:cubicBezTo>
                    <a:pt x="101" y="18"/>
                    <a:pt x="101" y="15"/>
                    <a:pt x="104" y="15"/>
                  </a:cubicBezTo>
                  <a:cubicBezTo>
                    <a:pt x="106" y="15"/>
                    <a:pt x="113" y="15"/>
                    <a:pt x="113" y="15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5" y="36"/>
                    <a:pt x="106" y="36"/>
                    <a:pt x="10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59" tIns="34280" rIns="68559" bIns="34280" numCol="1" anchor="t" anchorCtr="0" compatLnSpc="1">
              <a:prstTxWarp prst="textNoShape">
                <a:avLst/>
              </a:prstTxWarp>
            </a:bodyPr>
            <a:lstStyle/>
            <a:p>
              <a:pPr defTabSz="685577">
                <a:defRPr/>
              </a:pPr>
              <a:endParaRPr lang="fr-FR" sz="1400">
                <a:solidFill>
                  <a:prstClr val="black"/>
                </a:solidFill>
                <a:latin typeface="Delivery"/>
              </a:endParaRPr>
            </a:p>
          </p:txBody>
        </p:sp>
      </p:grpSp>
      <p:grpSp>
        <p:nvGrpSpPr>
          <p:cNvPr id="209" name="Group 134">
            <a:extLst>
              <a:ext uri="{FF2B5EF4-FFF2-40B4-BE49-F238E27FC236}">
                <a16:creationId xmlns:a16="http://schemas.microsoft.com/office/drawing/2014/main" id="{387AA2FC-D504-4955-B95B-25D39C67AEF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347082" y="2219364"/>
            <a:ext cx="242426" cy="38126"/>
            <a:chOff x="267" y="1297"/>
            <a:chExt cx="2345" cy="331"/>
          </a:xfrm>
          <a:solidFill>
            <a:schemeClr val="bg1"/>
          </a:solidFill>
        </p:grpSpPr>
        <p:sp>
          <p:nvSpPr>
            <p:cNvPr id="210" name="Freeform 55">
              <a:extLst>
                <a:ext uri="{FF2B5EF4-FFF2-40B4-BE49-F238E27FC236}">
                  <a16:creationId xmlns:a16="http://schemas.microsoft.com/office/drawing/2014/main" id="{27E60FCD-824C-458A-AA21-6E4721F5ACC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" y="1297"/>
              <a:ext cx="625" cy="195"/>
            </a:xfrm>
            <a:custGeom>
              <a:avLst/>
              <a:gdLst>
                <a:gd name="T0" fmla="*/ 0 w 4480"/>
                <a:gd name="T1" fmla="*/ 0 h 1398"/>
                <a:gd name="T2" fmla="*/ 0 w 4480"/>
                <a:gd name="T3" fmla="*/ 0 h 1398"/>
                <a:gd name="T4" fmla="*/ 0 w 4480"/>
                <a:gd name="T5" fmla="*/ 0 h 1398"/>
                <a:gd name="T6" fmla="*/ 1 w 4480"/>
                <a:gd name="T7" fmla="*/ 0 h 1398"/>
                <a:gd name="T8" fmla="*/ 1 w 4480"/>
                <a:gd name="T9" fmla="*/ 0 h 1398"/>
                <a:gd name="T10" fmla="*/ 1 w 4480"/>
                <a:gd name="T11" fmla="*/ 0 h 1398"/>
                <a:gd name="T12" fmla="*/ 1 w 4480"/>
                <a:gd name="T13" fmla="*/ 0 h 1398"/>
                <a:gd name="T14" fmla="*/ 1 w 4480"/>
                <a:gd name="T15" fmla="*/ 0 h 1398"/>
                <a:gd name="T16" fmla="*/ 1 w 4480"/>
                <a:gd name="T17" fmla="*/ 0 h 1398"/>
                <a:gd name="T18" fmla="*/ 1 w 4480"/>
                <a:gd name="T19" fmla="*/ 0 h 1398"/>
                <a:gd name="T20" fmla="*/ 1 w 4480"/>
                <a:gd name="T21" fmla="*/ 0 h 1398"/>
                <a:gd name="T22" fmla="*/ 1 w 4480"/>
                <a:gd name="T23" fmla="*/ 0 h 1398"/>
                <a:gd name="T24" fmla="*/ 1 w 4480"/>
                <a:gd name="T25" fmla="*/ 0 h 1398"/>
                <a:gd name="T26" fmla="*/ 1 w 4480"/>
                <a:gd name="T27" fmla="*/ 0 h 1398"/>
                <a:gd name="T28" fmla="*/ 1 w 4480"/>
                <a:gd name="T29" fmla="*/ 0 h 1398"/>
                <a:gd name="T30" fmla="*/ 1 w 4480"/>
                <a:gd name="T31" fmla="*/ 0 h 1398"/>
                <a:gd name="T32" fmla="*/ 1 w 4480"/>
                <a:gd name="T33" fmla="*/ 1 h 1398"/>
                <a:gd name="T34" fmla="*/ 1 w 4480"/>
                <a:gd name="T35" fmla="*/ 1 h 1398"/>
                <a:gd name="T36" fmla="*/ 1 w 4480"/>
                <a:gd name="T37" fmla="*/ 1 h 1398"/>
                <a:gd name="T38" fmla="*/ 1 w 4480"/>
                <a:gd name="T39" fmla="*/ 1 h 1398"/>
                <a:gd name="T40" fmla="*/ 1 w 4480"/>
                <a:gd name="T41" fmla="*/ 1 h 1398"/>
                <a:gd name="T42" fmla="*/ 1 w 4480"/>
                <a:gd name="T43" fmla="*/ 1 h 1398"/>
                <a:gd name="T44" fmla="*/ 1 w 4480"/>
                <a:gd name="T45" fmla="*/ 1 h 1398"/>
                <a:gd name="T46" fmla="*/ 1 w 4480"/>
                <a:gd name="T47" fmla="*/ 1 h 1398"/>
                <a:gd name="T48" fmla="*/ 1 w 4480"/>
                <a:gd name="T49" fmla="*/ 1 h 1398"/>
                <a:gd name="T50" fmla="*/ 1 w 4480"/>
                <a:gd name="T51" fmla="*/ 1 h 1398"/>
                <a:gd name="T52" fmla="*/ 1 w 4480"/>
                <a:gd name="T53" fmla="*/ 1 h 1398"/>
                <a:gd name="T54" fmla="*/ 2 w 4480"/>
                <a:gd name="T55" fmla="*/ 1 h 1398"/>
                <a:gd name="T56" fmla="*/ 2 w 4480"/>
                <a:gd name="T57" fmla="*/ 1 h 1398"/>
                <a:gd name="T58" fmla="*/ 2 w 4480"/>
                <a:gd name="T59" fmla="*/ 1 h 1398"/>
                <a:gd name="T60" fmla="*/ 2 w 4480"/>
                <a:gd name="T61" fmla="*/ 0 h 1398"/>
                <a:gd name="T62" fmla="*/ 2 w 4480"/>
                <a:gd name="T63" fmla="*/ 0 h 1398"/>
                <a:gd name="T64" fmla="*/ 2 w 4480"/>
                <a:gd name="T65" fmla="*/ 0 h 1398"/>
                <a:gd name="T66" fmla="*/ 2 w 4480"/>
                <a:gd name="T67" fmla="*/ 0 h 1398"/>
                <a:gd name="T68" fmla="*/ 2 w 4480"/>
                <a:gd name="T69" fmla="*/ 0 h 1398"/>
                <a:gd name="T70" fmla="*/ 2 w 4480"/>
                <a:gd name="T71" fmla="*/ 0 h 1398"/>
                <a:gd name="T72" fmla="*/ 2 w 4480"/>
                <a:gd name="T73" fmla="*/ 0 h 1398"/>
                <a:gd name="T74" fmla="*/ 2 w 4480"/>
                <a:gd name="T75" fmla="*/ 0 h 1398"/>
                <a:gd name="T76" fmla="*/ 2 w 4480"/>
                <a:gd name="T77" fmla="*/ 0 h 1398"/>
                <a:gd name="T78" fmla="*/ 2 w 4480"/>
                <a:gd name="T79" fmla="*/ 0 h 1398"/>
                <a:gd name="T80" fmla="*/ 2 w 4480"/>
                <a:gd name="T81" fmla="*/ 0 h 1398"/>
                <a:gd name="T82" fmla="*/ 1 w 4480"/>
                <a:gd name="T83" fmla="*/ 0 h 1398"/>
                <a:gd name="T84" fmla="*/ 1 w 4480"/>
                <a:gd name="T85" fmla="*/ 0 h 1398"/>
                <a:gd name="T86" fmla="*/ 1 w 4480"/>
                <a:gd name="T87" fmla="*/ 0 h 1398"/>
                <a:gd name="T88" fmla="*/ 1 w 4480"/>
                <a:gd name="T89" fmla="*/ 0 h 1398"/>
                <a:gd name="T90" fmla="*/ 1 w 4480"/>
                <a:gd name="T91" fmla="*/ 0 h 1398"/>
                <a:gd name="T92" fmla="*/ 0 w 4480"/>
                <a:gd name="T93" fmla="*/ 0 h 1398"/>
                <a:gd name="T94" fmla="*/ 0 w 4480"/>
                <a:gd name="T95" fmla="*/ 0 h 139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4480" h="1398">
                  <a:moveTo>
                    <a:pt x="537" y="0"/>
                  </a:moveTo>
                  <a:lnTo>
                    <a:pt x="0" y="728"/>
                  </a:lnTo>
                  <a:lnTo>
                    <a:pt x="31" y="728"/>
                  </a:lnTo>
                  <a:lnTo>
                    <a:pt x="120" y="728"/>
                  </a:lnTo>
                  <a:lnTo>
                    <a:pt x="257" y="728"/>
                  </a:lnTo>
                  <a:lnTo>
                    <a:pt x="437" y="728"/>
                  </a:lnTo>
                  <a:lnTo>
                    <a:pt x="649" y="728"/>
                  </a:lnTo>
                  <a:lnTo>
                    <a:pt x="887" y="728"/>
                  </a:lnTo>
                  <a:lnTo>
                    <a:pt x="1143" y="728"/>
                  </a:lnTo>
                  <a:lnTo>
                    <a:pt x="1409" y="728"/>
                  </a:lnTo>
                  <a:lnTo>
                    <a:pt x="1675" y="728"/>
                  </a:lnTo>
                  <a:lnTo>
                    <a:pt x="1935" y="728"/>
                  </a:lnTo>
                  <a:lnTo>
                    <a:pt x="2182" y="728"/>
                  </a:lnTo>
                  <a:lnTo>
                    <a:pt x="2406" y="728"/>
                  </a:lnTo>
                  <a:lnTo>
                    <a:pt x="2600" y="728"/>
                  </a:lnTo>
                  <a:lnTo>
                    <a:pt x="2757" y="728"/>
                  </a:lnTo>
                  <a:lnTo>
                    <a:pt x="2867" y="728"/>
                  </a:lnTo>
                  <a:lnTo>
                    <a:pt x="2924" y="728"/>
                  </a:lnTo>
                  <a:lnTo>
                    <a:pt x="2949" y="728"/>
                  </a:lnTo>
                  <a:lnTo>
                    <a:pt x="2972" y="730"/>
                  </a:lnTo>
                  <a:lnTo>
                    <a:pt x="2991" y="733"/>
                  </a:lnTo>
                  <a:lnTo>
                    <a:pt x="3008" y="737"/>
                  </a:lnTo>
                  <a:lnTo>
                    <a:pt x="3014" y="740"/>
                  </a:lnTo>
                  <a:lnTo>
                    <a:pt x="3020" y="744"/>
                  </a:lnTo>
                  <a:lnTo>
                    <a:pt x="3025" y="747"/>
                  </a:lnTo>
                  <a:lnTo>
                    <a:pt x="3031" y="750"/>
                  </a:lnTo>
                  <a:lnTo>
                    <a:pt x="3035" y="754"/>
                  </a:lnTo>
                  <a:lnTo>
                    <a:pt x="3038" y="758"/>
                  </a:lnTo>
                  <a:lnTo>
                    <a:pt x="3040" y="762"/>
                  </a:lnTo>
                  <a:lnTo>
                    <a:pt x="3042" y="768"/>
                  </a:lnTo>
                  <a:lnTo>
                    <a:pt x="3044" y="773"/>
                  </a:lnTo>
                  <a:lnTo>
                    <a:pt x="3044" y="778"/>
                  </a:lnTo>
                  <a:lnTo>
                    <a:pt x="3044" y="783"/>
                  </a:lnTo>
                  <a:lnTo>
                    <a:pt x="3044" y="790"/>
                  </a:lnTo>
                  <a:lnTo>
                    <a:pt x="3041" y="802"/>
                  </a:lnTo>
                  <a:lnTo>
                    <a:pt x="3037" y="816"/>
                  </a:lnTo>
                  <a:lnTo>
                    <a:pt x="3030" y="830"/>
                  </a:lnTo>
                  <a:lnTo>
                    <a:pt x="3020" y="846"/>
                  </a:lnTo>
                  <a:lnTo>
                    <a:pt x="3010" y="863"/>
                  </a:lnTo>
                  <a:lnTo>
                    <a:pt x="2997" y="881"/>
                  </a:lnTo>
                  <a:lnTo>
                    <a:pt x="2967" y="922"/>
                  </a:lnTo>
                  <a:lnTo>
                    <a:pt x="2934" y="967"/>
                  </a:lnTo>
                  <a:lnTo>
                    <a:pt x="2898" y="1016"/>
                  </a:lnTo>
                  <a:lnTo>
                    <a:pt x="2862" y="1067"/>
                  </a:lnTo>
                  <a:lnTo>
                    <a:pt x="2825" y="1117"/>
                  </a:lnTo>
                  <a:lnTo>
                    <a:pt x="2789" y="1167"/>
                  </a:lnTo>
                  <a:lnTo>
                    <a:pt x="2756" y="1213"/>
                  </a:lnTo>
                  <a:lnTo>
                    <a:pt x="2726" y="1254"/>
                  </a:lnTo>
                  <a:lnTo>
                    <a:pt x="2711" y="1275"/>
                  </a:lnTo>
                  <a:lnTo>
                    <a:pt x="2697" y="1298"/>
                  </a:lnTo>
                  <a:lnTo>
                    <a:pt x="2692" y="1309"/>
                  </a:lnTo>
                  <a:lnTo>
                    <a:pt x="2688" y="1322"/>
                  </a:lnTo>
                  <a:lnTo>
                    <a:pt x="2687" y="1327"/>
                  </a:lnTo>
                  <a:lnTo>
                    <a:pt x="2687" y="1333"/>
                  </a:lnTo>
                  <a:lnTo>
                    <a:pt x="2687" y="1339"/>
                  </a:lnTo>
                  <a:lnTo>
                    <a:pt x="2687" y="1345"/>
                  </a:lnTo>
                  <a:lnTo>
                    <a:pt x="2689" y="1350"/>
                  </a:lnTo>
                  <a:lnTo>
                    <a:pt x="2691" y="1355"/>
                  </a:lnTo>
                  <a:lnTo>
                    <a:pt x="2695" y="1360"/>
                  </a:lnTo>
                  <a:lnTo>
                    <a:pt x="2699" y="1366"/>
                  </a:lnTo>
                  <a:lnTo>
                    <a:pt x="2704" y="1370"/>
                  </a:lnTo>
                  <a:lnTo>
                    <a:pt x="2711" y="1374"/>
                  </a:lnTo>
                  <a:lnTo>
                    <a:pt x="2718" y="1378"/>
                  </a:lnTo>
                  <a:lnTo>
                    <a:pt x="2726" y="1382"/>
                  </a:lnTo>
                  <a:lnTo>
                    <a:pt x="2737" y="1386"/>
                  </a:lnTo>
                  <a:lnTo>
                    <a:pt x="2748" y="1389"/>
                  </a:lnTo>
                  <a:lnTo>
                    <a:pt x="2761" y="1392"/>
                  </a:lnTo>
                  <a:lnTo>
                    <a:pt x="2775" y="1394"/>
                  </a:lnTo>
                  <a:lnTo>
                    <a:pt x="2790" y="1395"/>
                  </a:lnTo>
                  <a:lnTo>
                    <a:pt x="2807" y="1397"/>
                  </a:lnTo>
                  <a:lnTo>
                    <a:pt x="2826" y="1397"/>
                  </a:lnTo>
                  <a:lnTo>
                    <a:pt x="2847" y="1398"/>
                  </a:lnTo>
                  <a:lnTo>
                    <a:pt x="2900" y="1398"/>
                  </a:lnTo>
                  <a:lnTo>
                    <a:pt x="2967" y="1398"/>
                  </a:lnTo>
                  <a:lnTo>
                    <a:pt x="3046" y="1398"/>
                  </a:lnTo>
                  <a:lnTo>
                    <a:pt x="3135" y="1398"/>
                  </a:lnTo>
                  <a:lnTo>
                    <a:pt x="3230" y="1398"/>
                  </a:lnTo>
                  <a:lnTo>
                    <a:pt x="3331" y="1398"/>
                  </a:lnTo>
                  <a:lnTo>
                    <a:pt x="3433" y="1398"/>
                  </a:lnTo>
                  <a:lnTo>
                    <a:pt x="3534" y="1398"/>
                  </a:lnTo>
                  <a:lnTo>
                    <a:pt x="3633" y="1398"/>
                  </a:lnTo>
                  <a:lnTo>
                    <a:pt x="3727" y="1398"/>
                  </a:lnTo>
                  <a:lnTo>
                    <a:pt x="3813" y="1398"/>
                  </a:lnTo>
                  <a:lnTo>
                    <a:pt x="3889" y="1398"/>
                  </a:lnTo>
                  <a:lnTo>
                    <a:pt x="3952" y="1398"/>
                  </a:lnTo>
                  <a:lnTo>
                    <a:pt x="4000" y="1398"/>
                  </a:lnTo>
                  <a:lnTo>
                    <a:pt x="4032" y="1398"/>
                  </a:lnTo>
                  <a:lnTo>
                    <a:pt x="4042" y="1398"/>
                  </a:lnTo>
                  <a:lnTo>
                    <a:pt x="4051" y="1386"/>
                  </a:lnTo>
                  <a:lnTo>
                    <a:pt x="4075" y="1353"/>
                  </a:lnTo>
                  <a:lnTo>
                    <a:pt x="4111" y="1303"/>
                  </a:lnTo>
                  <a:lnTo>
                    <a:pt x="4159" y="1239"/>
                  </a:lnTo>
                  <a:lnTo>
                    <a:pt x="4213" y="1166"/>
                  </a:lnTo>
                  <a:lnTo>
                    <a:pt x="4273" y="1084"/>
                  </a:lnTo>
                  <a:lnTo>
                    <a:pt x="4335" y="1000"/>
                  </a:lnTo>
                  <a:lnTo>
                    <a:pt x="4397" y="917"/>
                  </a:lnTo>
                  <a:lnTo>
                    <a:pt x="4416" y="888"/>
                  </a:lnTo>
                  <a:lnTo>
                    <a:pt x="4432" y="858"/>
                  </a:lnTo>
                  <a:lnTo>
                    <a:pt x="4447" y="825"/>
                  </a:lnTo>
                  <a:lnTo>
                    <a:pt x="4459" y="792"/>
                  </a:lnTo>
                  <a:lnTo>
                    <a:pt x="4468" y="757"/>
                  </a:lnTo>
                  <a:lnTo>
                    <a:pt x="4474" y="722"/>
                  </a:lnTo>
                  <a:lnTo>
                    <a:pt x="4479" y="685"/>
                  </a:lnTo>
                  <a:lnTo>
                    <a:pt x="4480" y="648"/>
                  </a:lnTo>
                  <a:lnTo>
                    <a:pt x="4479" y="611"/>
                  </a:lnTo>
                  <a:lnTo>
                    <a:pt x="4474" y="573"/>
                  </a:lnTo>
                  <a:lnTo>
                    <a:pt x="4467" y="534"/>
                  </a:lnTo>
                  <a:lnTo>
                    <a:pt x="4458" y="496"/>
                  </a:lnTo>
                  <a:lnTo>
                    <a:pt x="4445" y="458"/>
                  </a:lnTo>
                  <a:lnTo>
                    <a:pt x="4429" y="420"/>
                  </a:lnTo>
                  <a:lnTo>
                    <a:pt x="4411" y="383"/>
                  </a:lnTo>
                  <a:lnTo>
                    <a:pt x="4390" y="347"/>
                  </a:lnTo>
                  <a:lnTo>
                    <a:pt x="4366" y="311"/>
                  </a:lnTo>
                  <a:lnTo>
                    <a:pt x="4339" y="276"/>
                  </a:lnTo>
                  <a:lnTo>
                    <a:pt x="4309" y="244"/>
                  </a:lnTo>
                  <a:lnTo>
                    <a:pt x="4275" y="212"/>
                  </a:lnTo>
                  <a:lnTo>
                    <a:pt x="4239" y="181"/>
                  </a:lnTo>
                  <a:lnTo>
                    <a:pt x="4200" y="153"/>
                  </a:lnTo>
                  <a:lnTo>
                    <a:pt x="4158" y="126"/>
                  </a:lnTo>
                  <a:lnTo>
                    <a:pt x="4111" y="102"/>
                  </a:lnTo>
                  <a:lnTo>
                    <a:pt x="4063" y="79"/>
                  </a:lnTo>
                  <a:lnTo>
                    <a:pt x="4011" y="59"/>
                  </a:lnTo>
                  <a:lnTo>
                    <a:pt x="3956" y="42"/>
                  </a:lnTo>
                  <a:lnTo>
                    <a:pt x="3897" y="27"/>
                  </a:lnTo>
                  <a:lnTo>
                    <a:pt x="3835" y="16"/>
                  </a:lnTo>
                  <a:lnTo>
                    <a:pt x="3770" y="7"/>
                  </a:lnTo>
                  <a:lnTo>
                    <a:pt x="3702" y="2"/>
                  </a:lnTo>
                  <a:lnTo>
                    <a:pt x="3630" y="0"/>
                  </a:lnTo>
                  <a:lnTo>
                    <a:pt x="3479" y="0"/>
                  </a:lnTo>
                  <a:lnTo>
                    <a:pt x="3295" y="0"/>
                  </a:lnTo>
                  <a:lnTo>
                    <a:pt x="3083" y="0"/>
                  </a:lnTo>
                  <a:lnTo>
                    <a:pt x="2850" y="0"/>
                  </a:lnTo>
                  <a:lnTo>
                    <a:pt x="2600" y="0"/>
                  </a:lnTo>
                  <a:lnTo>
                    <a:pt x="2342" y="0"/>
                  </a:lnTo>
                  <a:lnTo>
                    <a:pt x="2080" y="0"/>
                  </a:lnTo>
                  <a:lnTo>
                    <a:pt x="1820" y="0"/>
                  </a:lnTo>
                  <a:lnTo>
                    <a:pt x="1567" y="0"/>
                  </a:lnTo>
                  <a:lnTo>
                    <a:pt x="1330" y="0"/>
                  </a:lnTo>
                  <a:lnTo>
                    <a:pt x="1113" y="0"/>
                  </a:lnTo>
                  <a:lnTo>
                    <a:pt x="921" y="0"/>
                  </a:lnTo>
                  <a:lnTo>
                    <a:pt x="761" y="0"/>
                  </a:lnTo>
                  <a:lnTo>
                    <a:pt x="640" y="0"/>
                  </a:lnTo>
                  <a:lnTo>
                    <a:pt x="563" y="0"/>
                  </a:lnTo>
                  <a:lnTo>
                    <a:pt x="5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11" name="Freeform 56">
              <a:extLst>
                <a:ext uri="{FF2B5EF4-FFF2-40B4-BE49-F238E27FC236}">
                  <a16:creationId xmlns:a16="http://schemas.microsoft.com/office/drawing/2014/main" id="{A21E68BB-B2DD-4B60-B08C-D31950C91E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" y="1424"/>
              <a:ext cx="575" cy="204"/>
            </a:xfrm>
            <a:custGeom>
              <a:avLst/>
              <a:gdLst>
                <a:gd name="T0" fmla="*/ 0 w 4127"/>
                <a:gd name="T1" fmla="*/ 0 h 1461"/>
                <a:gd name="T2" fmla="*/ 0 w 4127"/>
                <a:gd name="T3" fmla="*/ 0 h 1461"/>
                <a:gd name="T4" fmla="*/ 1 w 4127"/>
                <a:gd name="T5" fmla="*/ 0 h 1461"/>
                <a:gd name="T6" fmla="*/ 1 w 4127"/>
                <a:gd name="T7" fmla="*/ 0 h 1461"/>
                <a:gd name="T8" fmla="*/ 1 w 4127"/>
                <a:gd name="T9" fmla="*/ 0 h 1461"/>
                <a:gd name="T10" fmla="*/ 1 w 4127"/>
                <a:gd name="T11" fmla="*/ 0 h 1461"/>
                <a:gd name="T12" fmla="*/ 1 w 4127"/>
                <a:gd name="T13" fmla="*/ 0 h 1461"/>
                <a:gd name="T14" fmla="*/ 1 w 4127"/>
                <a:gd name="T15" fmla="*/ 0 h 1461"/>
                <a:gd name="T16" fmla="*/ 1 w 4127"/>
                <a:gd name="T17" fmla="*/ 0 h 1461"/>
                <a:gd name="T18" fmla="*/ 1 w 4127"/>
                <a:gd name="T19" fmla="*/ 0 h 1461"/>
                <a:gd name="T20" fmla="*/ 1 w 4127"/>
                <a:gd name="T21" fmla="*/ 0 h 1461"/>
                <a:gd name="T22" fmla="*/ 1 w 4127"/>
                <a:gd name="T23" fmla="*/ 0 h 1461"/>
                <a:gd name="T24" fmla="*/ 1 w 4127"/>
                <a:gd name="T25" fmla="*/ 0 h 1461"/>
                <a:gd name="T26" fmla="*/ 1 w 4127"/>
                <a:gd name="T27" fmla="*/ 0 h 1461"/>
                <a:gd name="T28" fmla="*/ 1 w 4127"/>
                <a:gd name="T29" fmla="*/ 0 h 1461"/>
                <a:gd name="T30" fmla="*/ 1 w 4127"/>
                <a:gd name="T31" fmla="*/ 0 h 1461"/>
                <a:gd name="T32" fmla="*/ 1 w 4127"/>
                <a:gd name="T33" fmla="*/ 0 h 1461"/>
                <a:gd name="T34" fmla="*/ 1 w 4127"/>
                <a:gd name="T35" fmla="*/ 0 h 1461"/>
                <a:gd name="T36" fmla="*/ 1 w 4127"/>
                <a:gd name="T37" fmla="*/ 0 h 1461"/>
                <a:gd name="T38" fmla="*/ 1 w 4127"/>
                <a:gd name="T39" fmla="*/ 0 h 1461"/>
                <a:gd name="T40" fmla="*/ 1 w 4127"/>
                <a:gd name="T41" fmla="*/ 0 h 1461"/>
                <a:gd name="T42" fmla="*/ 1 w 4127"/>
                <a:gd name="T43" fmla="*/ 0 h 1461"/>
                <a:gd name="T44" fmla="*/ 1 w 4127"/>
                <a:gd name="T45" fmla="*/ 0 h 1461"/>
                <a:gd name="T46" fmla="*/ 1 w 4127"/>
                <a:gd name="T47" fmla="*/ 0 h 1461"/>
                <a:gd name="T48" fmla="*/ 1 w 4127"/>
                <a:gd name="T49" fmla="*/ 0 h 1461"/>
                <a:gd name="T50" fmla="*/ 1 w 4127"/>
                <a:gd name="T51" fmla="*/ 0 h 1461"/>
                <a:gd name="T52" fmla="*/ 1 w 4127"/>
                <a:gd name="T53" fmla="*/ 0 h 1461"/>
                <a:gd name="T54" fmla="*/ 1 w 4127"/>
                <a:gd name="T55" fmla="*/ 0 h 1461"/>
                <a:gd name="T56" fmla="*/ 2 w 4127"/>
                <a:gd name="T57" fmla="*/ 0 h 1461"/>
                <a:gd name="T58" fmla="*/ 2 w 4127"/>
                <a:gd name="T59" fmla="*/ 0 h 1461"/>
                <a:gd name="T60" fmla="*/ 2 w 4127"/>
                <a:gd name="T61" fmla="*/ 0 h 1461"/>
                <a:gd name="T62" fmla="*/ 2 w 4127"/>
                <a:gd name="T63" fmla="*/ 0 h 1461"/>
                <a:gd name="T64" fmla="*/ 1 w 4127"/>
                <a:gd name="T65" fmla="*/ 0 h 1461"/>
                <a:gd name="T66" fmla="*/ 1 w 4127"/>
                <a:gd name="T67" fmla="*/ 0 h 1461"/>
                <a:gd name="T68" fmla="*/ 1 w 4127"/>
                <a:gd name="T69" fmla="*/ 0 h 1461"/>
                <a:gd name="T70" fmla="*/ 1 w 4127"/>
                <a:gd name="T71" fmla="*/ 1 h 1461"/>
                <a:gd name="T72" fmla="*/ 1 w 4127"/>
                <a:gd name="T73" fmla="*/ 1 h 1461"/>
                <a:gd name="T74" fmla="*/ 1 w 4127"/>
                <a:gd name="T75" fmla="*/ 1 h 1461"/>
                <a:gd name="T76" fmla="*/ 1 w 4127"/>
                <a:gd name="T77" fmla="*/ 1 h 1461"/>
                <a:gd name="T78" fmla="*/ 1 w 4127"/>
                <a:gd name="T79" fmla="*/ 1 h 1461"/>
                <a:gd name="T80" fmla="*/ 1 w 4127"/>
                <a:gd name="T81" fmla="*/ 1 h 1461"/>
                <a:gd name="T82" fmla="*/ 0 w 4127"/>
                <a:gd name="T83" fmla="*/ 1 h 1461"/>
                <a:gd name="T84" fmla="*/ 0 w 4127"/>
                <a:gd name="T85" fmla="*/ 1 h 1461"/>
                <a:gd name="T86" fmla="*/ 0 w 4127"/>
                <a:gd name="T87" fmla="*/ 1 h 146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127" h="1461">
                  <a:moveTo>
                    <a:pt x="0" y="1461"/>
                  </a:moveTo>
                  <a:lnTo>
                    <a:pt x="1077" y="0"/>
                  </a:lnTo>
                  <a:lnTo>
                    <a:pt x="1090" y="0"/>
                  </a:lnTo>
                  <a:lnTo>
                    <a:pt x="1129" y="0"/>
                  </a:lnTo>
                  <a:lnTo>
                    <a:pt x="1188" y="0"/>
                  </a:lnTo>
                  <a:lnTo>
                    <a:pt x="1266" y="0"/>
                  </a:lnTo>
                  <a:lnTo>
                    <a:pt x="1359" y="0"/>
                  </a:lnTo>
                  <a:lnTo>
                    <a:pt x="1463" y="0"/>
                  </a:lnTo>
                  <a:lnTo>
                    <a:pt x="1575" y="0"/>
                  </a:lnTo>
                  <a:lnTo>
                    <a:pt x="1693" y="0"/>
                  </a:lnTo>
                  <a:lnTo>
                    <a:pt x="1811" y="0"/>
                  </a:lnTo>
                  <a:lnTo>
                    <a:pt x="1929" y="0"/>
                  </a:lnTo>
                  <a:lnTo>
                    <a:pt x="2041" y="0"/>
                  </a:lnTo>
                  <a:lnTo>
                    <a:pt x="2145" y="0"/>
                  </a:lnTo>
                  <a:lnTo>
                    <a:pt x="2238" y="0"/>
                  </a:lnTo>
                  <a:lnTo>
                    <a:pt x="2316" y="0"/>
                  </a:lnTo>
                  <a:lnTo>
                    <a:pt x="2376" y="0"/>
                  </a:lnTo>
                  <a:lnTo>
                    <a:pt x="2415" y="0"/>
                  </a:lnTo>
                  <a:lnTo>
                    <a:pt x="2440" y="0"/>
                  </a:lnTo>
                  <a:lnTo>
                    <a:pt x="2463" y="2"/>
                  </a:lnTo>
                  <a:lnTo>
                    <a:pt x="2482" y="5"/>
                  </a:lnTo>
                  <a:lnTo>
                    <a:pt x="2498" y="9"/>
                  </a:lnTo>
                  <a:lnTo>
                    <a:pt x="2505" y="13"/>
                  </a:lnTo>
                  <a:lnTo>
                    <a:pt x="2511" y="16"/>
                  </a:lnTo>
                  <a:lnTo>
                    <a:pt x="2516" y="19"/>
                  </a:lnTo>
                  <a:lnTo>
                    <a:pt x="2522" y="22"/>
                  </a:lnTo>
                  <a:lnTo>
                    <a:pt x="2526" y="26"/>
                  </a:lnTo>
                  <a:lnTo>
                    <a:pt x="2529" y="30"/>
                  </a:lnTo>
                  <a:lnTo>
                    <a:pt x="2531" y="35"/>
                  </a:lnTo>
                  <a:lnTo>
                    <a:pt x="2533" y="40"/>
                  </a:lnTo>
                  <a:lnTo>
                    <a:pt x="2535" y="45"/>
                  </a:lnTo>
                  <a:lnTo>
                    <a:pt x="2535" y="50"/>
                  </a:lnTo>
                  <a:lnTo>
                    <a:pt x="2535" y="56"/>
                  </a:lnTo>
                  <a:lnTo>
                    <a:pt x="2535" y="62"/>
                  </a:lnTo>
                  <a:lnTo>
                    <a:pt x="2532" y="74"/>
                  </a:lnTo>
                  <a:lnTo>
                    <a:pt x="2528" y="88"/>
                  </a:lnTo>
                  <a:lnTo>
                    <a:pt x="2521" y="103"/>
                  </a:lnTo>
                  <a:lnTo>
                    <a:pt x="2511" y="118"/>
                  </a:lnTo>
                  <a:lnTo>
                    <a:pt x="2501" y="135"/>
                  </a:lnTo>
                  <a:lnTo>
                    <a:pt x="2488" y="153"/>
                  </a:lnTo>
                  <a:lnTo>
                    <a:pt x="2458" y="194"/>
                  </a:lnTo>
                  <a:lnTo>
                    <a:pt x="2425" y="239"/>
                  </a:lnTo>
                  <a:lnTo>
                    <a:pt x="2389" y="288"/>
                  </a:lnTo>
                  <a:lnTo>
                    <a:pt x="2352" y="338"/>
                  </a:lnTo>
                  <a:lnTo>
                    <a:pt x="2315" y="389"/>
                  </a:lnTo>
                  <a:lnTo>
                    <a:pt x="2279" y="438"/>
                  </a:lnTo>
                  <a:lnTo>
                    <a:pt x="2246" y="483"/>
                  </a:lnTo>
                  <a:lnTo>
                    <a:pt x="2215" y="524"/>
                  </a:lnTo>
                  <a:lnTo>
                    <a:pt x="2199" y="545"/>
                  </a:lnTo>
                  <a:lnTo>
                    <a:pt x="2186" y="568"/>
                  </a:lnTo>
                  <a:lnTo>
                    <a:pt x="2181" y="580"/>
                  </a:lnTo>
                  <a:lnTo>
                    <a:pt x="2176" y="592"/>
                  </a:lnTo>
                  <a:lnTo>
                    <a:pt x="2175" y="598"/>
                  </a:lnTo>
                  <a:lnTo>
                    <a:pt x="2175" y="603"/>
                  </a:lnTo>
                  <a:lnTo>
                    <a:pt x="2175" y="610"/>
                  </a:lnTo>
                  <a:lnTo>
                    <a:pt x="2176" y="615"/>
                  </a:lnTo>
                  <a:lnTo>
                    <a:pt x="2177" y="621"/>
                  </a:lnTo>
                  <a:lnTo>
                    <a:pt x="2180" y="626"/>
                  </a:lnTo>
                  <a:lnTo>
                    <a:pt x="2184" y="632"/>
                  </a:lnTo>
                  <a:lnTo>
                    <a:pt x="2188" y="636"/>
                  </a:lnTo>
                  <a:lnTo>
                    <a:pt x="2193" y="641"/>
                  </a:lnTo>
                  <a:lnTo>
                    <a:pt x="2199" y="645"/>
                  </a:lnTo>
                  <a:lnTo>
                    <a:pt x="2207" y="649"/>
                  </a:lnTo>
                  <a:lnTo>
                    <a:pt x="2215" y="652"/>
                  </a:lnTo>
                  <a:lnTo>
                    <a:pt x="2226" y="657"/>
                  </a:lnTo>
                  <a:lnTo>
                    <a:pt x="2237" y="659"/>
                  </a:lnTo>
                  <a:lnTo>
                    <a:pt x="2250" y="662"/>
                  </a:lnTo>
                  <a:lnTo>
                    <a:pt x="2263" y="664"/>
                  </a:lnTo>
                  <a:lnTo>
                    <a:pt x="2279" y="666"/>
                  </a:lnTo>
                  <a:lnTo>
                    <a:pt x="2296" y="667"/>
                  </a:lnTo>
                  <a:lnTo>
                    <a:pt x="2315" y="668"/>
                  </a:lnTo>
                  <a:lnTo>
                    <a:pt x="2336" y="668"/>
                  </a:lnTo>
                  <a:lnTo>
                    <a:pt x="2396" y="668"/>
                  </a:lnTo>
                  <a:lnTo>
                    <a:pt x="2482" y="668"/>
                  </a:lnTo>
                  <a:lnTo>
                    <a:pt x="2590" y="668"/>
                  </a:lnTo>
                  <a:lnTo>
                    <a:pt x="2717" y="668"/>
                  </a:lnTo>
                  <a:lnTo>
                    <a:pt x="2857" y="668"/>
                  </a:lnTo>
                  <a:lnTo>
                    <a:pt x="3007" y="668"/>
                  </a:lnTo>
                  <a:lnTo>
                    <a:pt x="3164" y="668"/>
                  </a:lnTo>
                  <a:lnTo>
                    <a:pt x="3321" y="668"/>
                  </a:lnTo>
                  <a:lnTo>
                    <a:pt x="3475" y="668"/>
                  </a:lnTo>
                  <a:lnTo>
                    <a:pt x="3623" y="668"/>
                  </a:lnTo>
                  <a:lnTo>
                    <a:pt x="3760" y="668"/>
                  </a:lnTo>
                  <a:lnTo>
                    <a:pt x="3880" y="668"/>
                  </a:lnTo>
                  <a:lnTo>
                    <a:pt x="3982" y="668"/>
                  </a:lnTo>
                  <a:lnTo>
                    <a:pt x="4060" y="668"/>
                  </a:lnTo>
                  <a:lnTo>
                    <a:pt x="4109" y="668"/>
                  </a:lnTo>
                  <a:lnTo>
                    <a:pt x="4127" y="668"/>
                  </a:lnTo>
                  <a:lnTo>
                    <a:pt x="4094" y="710"/>
                  </a:lnTo>
                  <a:lnTo>
                    <a:pt x="4055" y="760"/>
                  </a:lnTo>
                  <a:lnTo>
                    <a:pt x="4032" y="789"/>
                  </a:lnTo>
                  <a:lnTo>
                    <a:pt x="4007" y="817"/>
                  </a:lnTo>
                  <a:lnTo>
                    <a:pt x="3980" y="847"/>
                  </a:lnTo>
                  <a:lnTo>
                    <a:pt x="3952" y="878"/>
                  </a:lnTo>
                  <a:lnTo>
                    <a:pt x="3920" y="910"/>
                  </a:lnTo>
                  <a:lnTo>
                    <a:pt x="3888" y="943"/>
                  </a:lnTo>
                  <a:lnTo>
                    <a:pt x="3852" y="975"/>
                  </a:lnTo>
                  <a:lnTo>
                    <a:pt x="3815" y="1009"/>
                  </a:lnTo>
                  <a:lnTo>
                    <a:pt x="3776" y="1042"/>
                  </a:lnTo>
                  <a:lnTo>
                    <a:pt x="3736" y="1076"/>
                  </a:lnTo>
                  <a:lnTo>
                    <a:pt x="3691" y="1108"/>
                  </a:lnTo>
                  <a:lnTo>
                    <a:pt x="3646" y="1141"/>
                  </a:lnTo>
                  <a:lnTo>
                    <a:pt x="3599" y="1173"/>
                  </a:lnTo>
                  <a:lnTo>
                    <a:pt x="3549" y="1204"/>
                  </a:lnTo>
                  <a:lnTo>
                    <a:pt x="3497" y="1235"/>
                  </a:lnTo>
                  <a:lnTo>
                    <a:pt x="3444" y="1264"/>
                  </a:lnTo>
                  <a:lnTo>
                    <a:pt x="3387" y="1291"/>
                  </a:lnTo>
                  <a:lnTo>
                    <a:pt x="3329" y="1318"/>
                  </a:lnTo>
                  <a:lnTo>
                    <a:pt x="3269" y="1343"/>
                  </a:lnTo>
                  <a:lnTo>
                    <a:pt x="3207" y="1366"/>
                  </a:lnTo>
                  <a:lnTo>
                    <a:pt x="3142" y="1387"/>
                  </a:lnTo>
                  <a:lnTo>
                    <a:pt x="3075" y="1405"/>
                  </a:lnTo>
                  <a:lnTo>
                    <a:pt x="3005" y="1421"/>
                  </a:lnTo>
                  <a:lnTo>
                    <a:pt x="2934" y="1435"/>
                  </a:lnTo>
                  <a:lnTo>
                    <a:pt x="2860" y="1446"/>
                  </a:lnTo>
                  <a:lnTo>
                    <a:pt x="2785" y="1454"/>
                  </a:lnTo>
                  <a:lnTo>
                    <a:pt x="2707" y="1459"/>
                  </a:lnTo>
                  <a:lnTo>
                    <a:pt x="2627" y="1461"/>
                  </a:lnTo>
                  <a:lnTo>
                    <a:pt x="2482" y="1461"/>
                  </a:lnTo>
                  <a:lnTo>
                    <a:pt x="2312" y="1461"/>
                  </a:lnTo>
                  <a:lnTo>
                    <a:pt x="2124" y="1461"/>
                  </a:lnTo>
                  <a:lnTo>
                    <a:pt x="1920" y="1461"/>
                  </a:lnTo>
                  <a:lnTo>
                    <a:pt x="1706" y="1461"/>
                  </a:lnTo>
                  <a:lnTo>
                    <a:pt x="1487" y="1461"/>
                  </a:lnTo>
                  <a:lnTo>
                    <a:pt x="1267" y="1461"/>
                  </a:lnTo>
                  <a:lnTo>
                    <a:pt x="1049" y="1461"/>
                  </a:lnTo>
                  <a:lnTo>
                    <a:pt x="842" y="1461"/>
                  </a:lnTo>
                  <a:lnTo>
                    <a:pt x="646" y="1461"/>
                  </a:lnTo>
                  <a:lnTo>
                    <a:pt x="467" y="1461"/>
                  </a:lnTo>
                  <a:lnTo>
                    <a:pt x="312" y="1461"/>
                  </a:lnTo>
                  <a:lnTo>
                    <a:pt x="182" y="1461"/>
                  </a:lnTo>
                  <a:lnTo>
                    <a:pt x="84" y="1461"/>
                  </a:lnTo>
                  <a:lnTo>
                    <a:pt x="21" y="1461"/>
                  </a:lnTo>
                  <a:lnTo>
                    <a:pt x="0" y="14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12" name="Freeform 57">
              <a:extLst>
                <a:ext uri="{FF2B5EF4-FFF2-40B4-BE49-F238E27FC236}">
                  <a16:creationId xmlns:a16="http://schemas.microsoft.com/office/drawing/2014/main" id="{F89E9282-860F-475E-9206-0E8416B7DA0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" y="1517"/>
              <a:ext cx="297" cy="111"/>
            </a:xfrm>
            <a:custGeom>
              <a:avLst/>
              <a:gdLst>
                <a:gd name="T0" fmla="*/ 1 w 2126"/>
                <a:gd name="T1" fmla="*/ 0 h 793"/>
                <a:gd name="T2" fmla="*/ 1 w 2126"/>
                <a:gd name="T3" fmla="*/ 0 h 793"/>
                <a:gd name="T4" fmla="*/ 0 w 2126"/>
                <a:gd name="T5" fmla="*/ 0 h 793"/>
                <a:gd name="T6" fmla="*/ 0 w 2126"/>
                <a:gd name="T7" fmla="*/ 0 h 793"/>
                <a:gd name="T8" fmla="*/ 0 w 2126"/>
                <a:gd name="T9" fmla="*/ 0 h 793"/>
                <a:gd name="T10" fmla="*/ 0 w 2126"/>
                <a:gd name="T11" fmla="*/ 0 h 793"/>
                <a:gd name="T12" fmla="*/ 0 w 2126"/>
                <a:gd name="T13" fmla="*/ 0 h 793"/>
                <a:gd name="T14" fmla="*/ 0 w 2126"/>
                <a:gd name="T15" fmla="*/ 0 h 793"/>
                <a:gd name="T16" fmla="*/ 0 w 2126"/>
                <a:gd name="T17" fmla="*/ 0 h 793"/>
                <a:gd name="T18" fmla="*/ 0 w 2126"/>
                <a:gd name="T19" fmla="*/ 0 h 793"/>
                <a:gd name="T20" fmla="*/ 0 w 2126"/>
                <a:gd name="T21" fmla="*/ 0 h 793"/>
                <a:gd name="T22" fmla="*/ 0 w 2126"/>
                <a:gd name="T23" fmla="*/ 0 h 793"/>
                <a:gd name="T24" fmla="*/ 0 w 2126"/>
                <a:gd name="T25" fmla="*/ 0 h 793"/>
                <a:gd name="T26" fmla="*/ 0 w 2126"/>
                <a:gd name="T27" fmla="*/ 0 h 793"/>
                <a:gd name="T28" fmla="*/ 0 w 2126"/>
                <a:gd name="T29" fmla="*/ 0 h 793"/>
                <a:gd name="T30" fmla="*/ 0 w 2126"/>
                <a:gd name="T31" fmla="*/ 0 h 793"/>
                <a:gd name="T32" fmla="*/ 0 w 2126"/>
                <a:gd name="T33" fmla="*/ 0 h 793"/>
                <a:gd name="T34" fmla="*/ 0 w 2126"/>
                <a:gd name="T35" fmla="*/ 0 h 793"/>
                <a:gd name="T36" fmla="*/ 0 w 2126"/>
                <a:gd name="T37" fmla="*/ 0 h 793"/>
                <a:gd name="T38" fmla="*/ 1 w 2126"/>
                <a:gd name="T39" fmla="*/ 0 h 79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26" h="793">
                  <a:moveTo>
                    <a:pt x="2126" y="0"/>
                  </a:moveTo>
                  <a:lnTo>
                    <a:pt x="1541" y="793"/>
                  </a:lnTo>
                  <a:lnTo>
                    <a:pt x="0" y="793"/>
                  </a:lnTo>
                  <a:lnTo>
                    <a:pt x="7" y="784"/>
                  </a:lnTo>
                  <a:lnTo>
                    <a:pt x="25" y="758"/>
                  </a:lnTo>
                  <a:lnTo>
                    <a:pt x="55" y="720"/>
                  </a:lnTo>
                  <a:lnTo>
                    <a:pt x="91" y="669"/>
                  </a:lnTo>
                  <a:lnTo>
                    <a:pt x="136" y="609"/>
                  </a:lnTo>
                  <a:lnTo>
                    <a:pt x="186" y="542"/>
                  </a:lnTo>
                  <a:lnTo>
                    <a:pt x="238" y="470"/>
                  </a:lnTo>
                  <a:lnTo>
                    <a:pt x="293" y="396"/>
                  </a:lnTo>
                  <a:lnTo>
                    <a:pt x="347" y="323"/>
                  </a:lnTo>
                  <a:lnTo>
                    <a:pt x="400" y="251"/>
                  </a:lnTo>
                  <a:lnTo>
                    <a:pt x="449" y="183"/>
                  </a:lnTo>
                  <a:lnTo>
                    <a:pt x="493" y="124"/>
                  </a:lnTo>
                  <a:lnTo>
                    <a:pt x="531" y="74"/>
                  </a:lnTo>
                  <a:lnTo>
                    <a:pt x="559" y="34"/>
                  </a:lnTo>
                  <a:lnTo>
                    <a:pt x="578" y="9"/>
                  </a:lnTo>
                  <a:lnTo>
                    <a:pt x="584" y="0"/>
                  </a:lnTo>
                  <a:lnTo>
                    <a:pt x="21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13" name="Freeform 58">
              <a:extLst>
                <a:ext uri="{FF2B5EF4-FFF2-40B4-BE49-F238E27FC236}">
                  <a16:creationId xmlns:a16="http://schemas.microsoft.com/office/drawing/2014/main" id="{91E99958-A725-4F40-957E-CCF914A6498D}"/>
                </a:ext>
              </a:extLst>
            </p:cNvPr>
            <p:cNvSpPr>
              <a:spLocks/>
            </p:cNvSpPr>
            <p:nvPr/>
          </p:nvSpPr>
          <p:spPr bwMode="gray">
            <a:xfrm>
              <a:off x="1239" y="1297"/>
              <a:ext cx="671" cy="195"/>
            </a:xfrm>
            <a:custGeom>
              <a:avLst/>
              <a:gdLst>
                <a:gd name="T0" fmla="*/ 1 w 4799"/>
                <a:gd name="T1" fmla="*/ 1 h 1398"/>
                <a:gd name="T2" fmla="*/ 0 w 4799"/>
                <a:gd name="T3" fmla="*/ 1 h 1398"/>
                <a:gd name="T4" fmla="*/ 0 w 4799"/>
                <a:gd name="T5" fmla="*/ 0 h 1398"/>
                <a:gd name="T6" fmla="*/ 1 w 4799"/>
                <a:gd name="T7" fmla="*/ 0 h 1398"/>
                <a:gd name="T8" fmla="*/ 1 w 4799"/>
                <a:gd name="T9" fmla="*/ 0 h 1398"/>
                <a:gd name="T10" fmla="*/ 1 w 4799"/>
                <a:gd name="T11" fmla="*/ 0 h 1398"/>
                <a:gd name="T12" fmla="*/ 1 w 4799"/>
                <a:gd name="T13" fmla="*/ 0 h 1398"/>
                <a:gd name="T14" fmla="*/ 2 w 4799"/>
                <a:gd name="T15" fmla="*/ 0 h 1398"/>
                <a:gd name="T16" fmla="*/ 1 w 4799"/>
                <a:gd name="T17" fmla="*/ 1 h 139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99" h="1398">
                  <a:moveTo>
                    <a:pt x="3769" y="1398"/>
                  </a:moveTo>
                  <a:lnTo>
                    <a:pt x="0" y="1398"/>
                  </a:lnTo>
                  <a:lnTo>
                    <a:pt x="1030" y="0"/>
                  </a:lnTo>
                  <a:lnTo>
                    <a:pt x="2570" y="0"/>
                  </a:lnTo>
                  <a:lnTo>
                    <a:pt x="1980" y="801"/>
                  </a:lnTo>
                  <a:lnTo>
                    <a:pt x="2668" y="801"/>
                  </a:lnTo>
                  <a:lnTo>
                    <a:pt x="3259" y="0"/>
                  </a:lnTo>
                  <a:lnTo>
                    <a:pt x="4799" y="0"/>
                  </a:lnTo>
                  <a:lnTo>
                    <a:pt x="3769" y="13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14" name="Freeform 59">
              <a:extLst>
                <a:ext uri="{FF2B5EF4-FFF2-40B4-BE49-F238E27FC236}">
                  <a16:creationId xmlns:a16="http://schemas.microsoft.com/office/drawing/2014/main" id="{455BC0E3-7AB4-4E6D-8AD5-23041F5229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450" y="1517"/>
              <a:ext cx="297" cy="111"/>
            </a:xfrm>
            <a:custGeom>
              <a:avLst/>
              <a:gdLst>
                <a:gd name="T0" fmla="*/ 1 w 2124"/>
                <a:gd name="T1" fmla="*/ 0 h 793"/>
                <a:gd name="T2" fmla="*/ 1 w 2124"/>
                <a:gd name="T3" fmla="*/ 0 h 793"/>
                <a:gd name="T4" fmla="*/ 0 w 2124"/>
                <a:gd name="T5" fmla="*/ 0 h 793"/>
                <a:gd name="T6" fmla="*/ 0 w 2124"/>
                <a:gd name="T7" fmla="*/ 0 h 793"/>
                <a:gd name="T8" fmla="*/ 0 w 2124"/>
                <a:gd name="T9" fmla="*/ 0 h 793"/>
                <a:gd name="T10" fmla="*/ 0 w 2124"/>
                <a:gd name="T11" fmla="*/ 0 h 793"/>
                <a:gd name="T12" fmla="*/ 0 w 2124"/>
                <a:gd name="T13" fmla="*/ 0 h 793"/>
                <a:gd name="T14" fmla="*/ 0 w 2124"/>
                <a:gd name="T15" fmla="*/ 0 h 793"/>
                <a:gd name="T16" fmla="*/ 0 w 2124"/>
                <a:gd name="T17" fmla="*/ 0 h 793"/>
                <a:gd name="T18" fmla="*/ 0 w 2124"/>
                <a:gd name="T19" fmla="*/ 0 h 793"/>
                <a:gd name="T20" fmla="*/ 0 w 2124"/>
                <a:gd name="T21" fmla="*/ 0 h 793"/>
                <a:gd name="T22" fmla="*/ 0 w 2124"/>
                <a:gd name="T23" fmla="*/ 0 h 793"/>
                <a:gd name="T24" fmla="*/ 0 w 2124"/>
                <a:gd name="T25" fmla="*/ 0 h 793"/>
                <a:gd name="T26" fmla="*/ 0 w 2124"/>
                <a:gd name="T27" fmla="*/ 0 h 793"/>
                <a:gd name="T28" fmla="*/ 0 w 2124"/>
                <a:gd name="T29" fmla="*/ 0 h 793"/>
                <a:gd name="T30" fmla="*/ 0 w 2124"/>
                <a:gd name="T31" fmla="*/ 0 h 793"/>
                <a:gd name="T32" fmla="*/ 0 w 2124"/>
                <a:gd name="T33" fmla="*/ 0 h 793"/>
                <a:gd name="T34" fmla="*/ 0 w 2124"/>
                <a:gd name="T35" fmla="*/ 0 h 793"/>
                <a:gd name="T36" fmla="*/ 0 w 2124"/>
                <a:gd name="T37" fmla="*/ 0 h 793"/>
                <a:gd name="T38" fmla="*/ 1 w 2124"/>
                <a:gd name="T39" fmla="*/ 0 h 79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24" h="793">
                  <a:moveTo>
                    <a:pt x="2124" y="0"/>
                  </a:moveTo>
                  <a:lnTo>
                    <a:pt x="1540" y="793"/>
                  </a:lnTo>
                  <a:lnTo>
                    <a:pt x="0" y="793"/>
                  </a:lnTo>
                  <a:lnTo>
                    <a:pt x="6" y="784"/>
                  </a:lnTo>
                  <a:lnTo>
                    <a:pt x="25" y="758"/>
                  </a:lnTo>
                  <a:lnTo>
                    <a:pt x="53" y="720"/>
                  </a:lnTo>
                  <a:lnTo>
                    <a:pt x="91" y="669"/>
                  </a:lnTo>
                  <a:lnTo>
                    <a:pt x="135" y="609"/>
                  </a:lnTo>
                  <a:lnTo>
                    <a:pt x="184" y="542"/>
                  </a:lnTo>
                  <a:lnTo>
                    <a:pt x="237" y="470"/>
                  </a:lnTo>
                  <a:lnTo>
                    <a:pt x="291" y="396"/>
                  </a:lnTo>
                  <a:lnTo>
                    <a:pt x="346" y="323"/>
                  </a:lnTo>
                  <a:lnTo>
                    <a:pt x="398" y="251"/>
                  </a:lnTo>
                  <a:lnTo>
                    <a:pt x="448" y="183"/>
                  </a:lnTo>
                  <a:lnTo>
                    <a:pt x="492" y="124"/>
                  </a:lnTo>
                  <a:lnTo>
                    <a:pt x="530" y="74"/>
                  </a:lnTo>
                  <a:lnTo>
                    <a:pt x="559" y="34"/>
                  </a:lnTo>
                  <a:lnTo>
                    <a:pt x="577" y="9"/>
                  </a:lnTo>
                  <a:lnTo>
                    <a:pt x="584" y="0"/>
                  </a:lnTo>
                  <a:lnTo>
                    <a:pt x="21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15" name="Freeform 60">
              <a:extLst>
                <a:ext uri="{FF2B5EF4-FFF2-40B4-BE49-F238E27FC236}">
                  <a16:creationId xmlns:a16="http://schemas.microsoft.com/office/drawing/2014/main" id="{AA0DFF61-ED17-4CB3-AC2F-05483E755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" y="1561"/>
              <a:ext cx="317" cy="23"/>
            </a:xfrm>
            <a:custGeom>
              <a:avLst/>
              <a:gdLst>
                <a:gd name="T0" fmla="*/ 0 w 2271"/>
                <a:gd name="T1" fmla="*/ 0 h 169"/>
                <a:gd name="T2" fmla="*/ 1 w 2271"/>
                <a:gd name="T3" fmla="*/ 0 h 169"/>
                <a:gd name="T4" fmla="*/ 1 w 2271"/>
                <a:gd name="T5" fmla="*/ 0 h 169"/>
                <a:gd name="T6" fmla="*/ 0 w 2271"/>
                <a:gd name="T7" fmla="*/ 0 h 169"/>
                <a:gd name="T8" fmla="*/ 0 w 2271"/>
                <a:gd name="T9" fmla="*/ 0 h 1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71" h="169">
                  <a:moveTo>
                    <a:pt x="0" y="0"/>
                  </a:moveTo>
                  <a:lnTo>
                    <a:pt x="2271" y="0"/>
                  </a:lnTo>
                  <a:lnTo>
                    <a:pt x="2147" y="169"/>
                  </a:lnTo>
                  <a:lnTo>
                    <a:pt x="0" y="16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16" name="Freeform 61">
              <a:extLst>
                <a:ext uri="{FF2B5EF4-FFF2-40B4-BE49-F238E27FC236}">
                  <a16:creationId xmlns:a16="http://schemas.microsoft.com/office/drawing/2014/main" id="{A675986D-B4AC-41D6-AAFC-4A1B0312B6F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" y="1517"/>
              <a:ext cx="349" cy="24"/>
            </a:xfrm>
            <a:custGeom>
              <a:avLst/>
              <a:gdLst>
                <a:gd name="T0" fmla="*/ 0 w 2501"/>
                <a:gd name="T1" fmla="*/ 0 h 169"/>
                <a:gd name="T2" fmla="*/ 1 w 2501"/>
                <a:gd name="T3" fmla="*/ 0 h 169"/>
                <a:gd name="T4" fmla="*/ 1 w 2501"/>
                <a:gd name="T5" fmla="*/ 0 h 169"/>
                <a:gd name="T6" fmla="*/ 0 w 2501"/>
                <a:gd name="T7" fmla="*/ 0 h 169"/>
                <a:gd name="T8" fmla="*/ 0 w 2501"/>
                <a:gd name="T9" fmla="*/ 0 h 1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01" h="169">
                  <a:moveTo>
                    <a:pt x="0" y="0"/>
                  </a:moveTo>
                  <a:lnTo>
                    <a:pt x="2501" y="0"/>
                  </a:lnTo>
                  <a:lnTo>
                    <a:pt x="2377" y="169"/>
                  </a:lnTo>
                  <a:lnTo>
                    <a:pt x="0" y="16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17" name="Freeform 62">
              <a:extLst>
                <a:ext uri="{FF2B5EF4-FFF2-40B4-BE49-F238E27FC236}">
                  <a16:creationId xmlns:a16="http://schemas.microsoft.com/office/drawing/2014/main" id="{40974A87-6BDD-47FB-AE92-9C47674B1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7" y="1605"/>
              <a:ext cx="285" cy="23"/>
            </a:xfrm>
            <a:custGeom>
              <a:avLst/>
              <a:gdLst>
                <a:gd name="T0" fmla="*/ 0 w 2040"/>
                <a:gd name="T1" fmla="*/ 0 h 168"/>
                <a:gd name="T2" fmla="*/ 1 w 2040"/>
                <a:gd name="T3" fmla="*/ 0 h 168"/>
                <a:gd name="T4" fmla="*/ 1 w 2040"/>
                <a:gd name="T5" fmla="*/ 0 h 168"/>
                <a:gd name="T6" fmla="*/ 0 w 2040"/>
                <a:gd name="T7" fmla="*/ 0 h 168"/>
                <a:gd name="T8" fmla="*/ 0 w 2040"/>
                <a:gd name="T9" fmla="*/ 0 h 1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40" h="168">
                  <a:moveTo>
                    <a:pt x="0" y="0"/>
                  </a:moveTo>
                  <a:lnTo>
                    <a:pt x="2040" y="0"/>
                  </a:lnTo>
                  <a:lnTo>
                    <a:pt x="1916" y="168"/>
                  </a:lnTo>
                  <a:lnTo>
                    <a:pt x="0" y="16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18" name="Freeform 63">
              <a:extLst>
                <a:ext uri="{FF2B5EF4-FFF2-40B4-BE49-F238E27FC236}">
                  <a16:creationId xmlns:a16="http://schemas.microsoft.com/office/drawing/2014/main" id="{0D937329-111B-4DEF-AB08-ED3D18368F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6" y="1561"/>
              <a:ext cx="316" cy="23"/>
            </a:xfrm>
            <a:custGeom>
              <a:avLst/>
              <a:gdLst>
                <a:gd name="T0" fmla="*/ 1 w 2261"/>
                <a:gd name="T1" fmla="*/ 0 h 169"/>
                <a:gd name="T2" fmla="*/ 0 w 2261"/>
                <a:gd name="T3" fmla="*/ 0 h 169"/>
                <a:gd name="T4" fmla="*/ 0 w 2261"/>
                <a:gd name="T5" fmla="*/ 0 h 169"/>
                <a:gd name="T6" fmla="*/ 1 w 2261"/>
                <a:gd name="T7" fmla="*/ 0 h 169"/>
                <a:gd name="T8" fmla="*/ 1 w 2261"/>
                <a:gd name="T9" fmla="*/ 0 h 1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261" h="169">
                  <a:moveTo>
                    <a:pt x="2261" y="169"/>
                  </a:moveTo>
                  <a:lnTo>
                    <a:pt x="0" y="169"/>
                  </a:lnTo>
                  <a:lnTo>
                    <a:pt x="124" y="0"/>
                  </a:lnTo>
                  <a:lnTo>
                    <a:pt x="2261" y="0"/>
                  </a:lnTo>
                  <a:lnTo>
                    <a:pt x="2261" y="1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19" name="Freeform 64">
              <a:extLst>
                <a:ext uri="{FF2B5EF4-FFF2-40B4-BE49-F238E27FC236}">
                  <a16:creationId xmlns:a16="http://schemas.microsoft.com/office/drawing/2014/main" id="{F9BEA454-E85E-4778-9CBE-1820AC8C8BE4}"/>
                </a:ext>
              </a:extLst>
            </p:cNvPr>
            <p:cNvSpPr>
              <a:spLocks/>
            </p:cNvSpPr>
            <p:nvPr/>
          </p:nvSpPr>
          <p:spPr bwMode="gray">
            <a:xfrm>
              <a:off x="2264" y="1605"/>
              <a:ext cx="348" cy="23"/>
            </a:xfrm>
            <a:custGeom>
              <a:avLst/>
              <a:gdLst>
                <a:gd name="T0" fmla="*/ 1 w 2492"/>
                <a:gd name="T1" fmla="*/ 0 h 168"/>
                <a:gd name="T2" fmla="*/ 0 w 2492"/>
                <a:gd name="T3" fmla="*/ 0 h 168"/>
                <a:gd name="T4" fmla="*/ 0 w 2492"/>
                <a:gd name="T5" fmla="*/ 0 h 168"/>
                <a:gd name="T6" fmla="*/ 1 w 2492"/>
                <a:gd name="T7" fmla="*/ 0 h 168"/>
                <a:gd name="T8" fmla="*/ 1 w 2492"/>
                <a:gd name="T9" fmla="*/ 0 h 1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92" h="168">
                  <a:moveTo>
                    <a:pt x="2492" y="168"/>
                  </a:moveTo>
                  <a:lnTo>
                    <a:pt x="0" y="168"/>
                  </a:lnTo>
                  <a:lnTo>
                    <a:pt x="124" y="0"/>
                  </a:lnTo>
                  <a:lnTo>
                    <a:pt x="2492" y="0"/>
                  </a:lnTo>
                  <a:lnTo>
                    <a:pt x="2492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20" name="Freeform 65">
              <a:extLst>
                <a:ext uri="{FF2B5EF4-FFF2-40B4-BE49-F238E27FC236}">
                  <a16:creationId xmlns:a16="http://schemas.microsoft.com/office/drawing/2014/main" id="{DC80924F-7A76-417D-8A60-F3F54B9093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328" y="1517"/>
              <a:ext cx="284" cy="24"/>
            </a:xfrm>
            <a:custGeom>
              <a:avLst/>
              <a:gdLst>
                <a:gd name="T0" fmla="*/ 0 w 2031"/>
                <a:gd name="T1" fmla="*/ 0 h 169"/>
                <a:gd name="T2" fmla="*/ 1 w 2031"/>
                <a:gd name="T3" fmla="*/ 0 h 169"/>
                <a:gd name="T4" fmla="*/ 1 w 2031"/>
                <a:gd name="T5" fmla="*/ 0 h 169"/>
                <a:gd name="T6" fmla="*/ 0 w 2031"/>
                <a:gd name="T7" fmla="*/ 0 h 169"/>
                <a:gd name="T8" fmla="*/ 0 w 2031"/>
                <a:gd name="T9" fmla="*/ 0 h 1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31" h="169">
                  <a:moveTo>
                    <a:pt x="123" y="0"/>
                  </a:moveTo>
                  <a:lnTo>
                    <a:pt x="2031" y="0"/>
                  </a:lnTo>
                  <a:lnTo>
                    <a:pt x="2031" y="169"/>
                  </a:lnTo>
                  <a:lnTo>
                    <a:pt x="0" y="169"/>
                  </a:lnTo>
                  <a:lnTo>
                    <a:pt x="1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21" name="Freeform 66">
              <a:extLst>
                <a:ext uri="{FF2B5EF4-FFF2-40B4-BE49-F238E27FC236}">
                  <a16:creationId xmlns:a16="http://schemas.microsoft.com/office/drawing/2014/main" id="{1FA4CF78-4D56-478C-A152-E14AA295D89F}"/>
                </a:ext>
              </a:extLst>
            </p:cNvPr>
            <p:cNvSpPr>
              <a:spLocks/>
            </p:cNvSpPr>
            <p:nvPr/>
          </p:nvSpPr>
          <p:spPr bwMode="gray">
            <a:xfrm>
              <a:off x="1836" y="1297"/>
              <a:ext cx="372" cy="195"/>
            </a:xfrm>
            <a:custGeom>
              <a:avLst/>
              <a:gdLst>
                <a:gd name="T0" fmla="*/ 1 w 2664"/>
                <a:gd name="T1" fmla="*/ 0 h 1398"/>
                <a:gd name="T2" fmla="*/ 1 w 2664"/>
                <a:gd name="T3" fmla="*/ 1 h 1398"/>
                <a:gd name="T4" fmla="*/ 0 w 2664"/>
                <a:gd name="T5" fmla="*/ 1 h 1398"/>
                <a:gd name="T6" fmla="*/ 0 w 2664"/>
                <a:gd name="T7" fmla="*/ 1 h 1398"/>
                <a:gd name="T8" fmla="*/ 0 w 2664"/>
                <a:gd name="T9" fmla="*/ 1 h 1398"/>
                <a:gd name="T10" fmla="*/ 0 w 2664"/>
                <a:gd name="T11" fmla="*/ 0 h 1398"/>
                <a:gd name="T12" fmla="*/ 0 w 2664"/>
                <a:gd name="T13" fmla="*/ 0 h 1398"/>
                <a:gd name="T14" fmla="*/ 0 w 2664"/>
                <a:gd name="T15" fmla="*/ 0 h 1398"/>
                <a:gd name="T16" fmla="*/ 0 w 2664"/>
                <a:gd name="T17" fmla="*/ 0 h 1398"/>
                <a:gd name="T18" fmla="*/ 0 w 2664"/>
                <a:gd name="T19" fmla="*/ 0 h 1398"/>
                <a:gd name="T20" fmla="*/ 0 w 2664"/>
                <a:gd name="T21" fmla="*/ 0 h 1398"/>
                <a:gd name="T22" fmla="*/ 0 w 2664"/>
                <a:gd name="T23" fmla="*/ 0 h 1398"/>
                <a:gd name="T24" fmla="*/ 0 w 2664"/>
                <a:gd name="T25" fmla="*/ 0 h 1398"/>
                <a:gd name="T26" fmla="*/ 0 w 2664"/>
                <a:gd name="T27" fmla="*/ 0 h 1398"/>
                <a:gd name="T28" fmla="*/ 0 w 2664"/>
                <a:gd name="T29" fmla="*/ 0 h 1398"/>
                <a:gd name="T30" fmla="*/ 0 w 2664"/>
                <a:gd name="T31" fmla="*/ 0 h 1398"/>
                <a:gd name="T32" fmla="*/ 0 w 2664"/>
                <a:gd name="T33" fmla="*/ 0 h 1398"/>
                <a:gd name="T34" fmla="*/ 0 w 2664"/>
                <a:gd name="T35" fmla="*/ 0 h 1398"/>
                <a:gd name="T36" fmla="*/ 0 w 2664"/>
                <a:gd name="T37" fmla="*/ 0 h 1398"/>
                <a:gd name="T38" fmla="*/ 1 w 2664"/>
                <a:gd name="T39" fmla="*/ 0 h 139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664" h="1398">
                  <a:moveTo>
                    <a:pt x="2664" y="0"/>
                  </a:moveTo>
                  <a:lnTo>
                    <a:pt x="1633" y="1398"/>
                  </a:lnTo>
                  <a:lnTo>
                    <a:pt x="0" y="1398"/>
                  </a:lnTo>
                  <a:lnTo>
                    <a:pt x="13" y="1382"/>
                  </a:lnTo>
                  <a:lnTo>
                    <a:pt x="45" y="1337"/>
                  </a:lnTo>
                  <a:lnTo>
                    <a:pt x="96" y="1268"/>
                  </a:lnTo>
                  <a:lnTo>
                    <a:pt x="162" y="1179"/>
                  </a:lnTo>
                  <a:lnTo>
                    <a:pt x="239" y="1073"/>
                  </a:lnTo>
                  <a:lnTo>
                    <a:pt x="326" y="955"/>
                  </a:lnTo>
                  <a:lnTo>
                    <a:pt x="420" y="829"/>
                  </a:lnTo>
                  <a:lnTo>
                    <a:pt x="516" y="699"/>
                  </a:lnTo>
                  <a:lnTo>
                    <a:pt x="612" y="569"/>
                  </a:lnTo>
                  <a:lnTo>
                    <a:pt x="705" y="442"/>
                  </a:lnTo>
                  <a:lnTo>
                    <a:pt x="792" y="325"/>
                  </a:lnTo>
                  <a:lnTo>
                    <a:pt x="871" y="219"/>
                  </a:lnTo>
                  <a:lnTo>
                    <a:pt x="937" y="129"/>
                  </a:lnTo>
                  <a:lnTo>
                    <a:pt x="987" y="60"/>
                  </a:lnTo>
                  <a:lnTo>
                    <a:pt x="1020" y="16"/>
                  </a:lnTo>
                  <a:lnTo>
                    <a:pt x="1032" y="0"/>
                  </a:lnTo>
                  <a:lnTo>
                    <a:pt x="26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  <p:sp>
          <p:nvSpPr>
            <p:cNvPr id="222" name="Freeform 67">
              <a:extLst>
                <a:ext uri="{FF2B5EF4-FFF2-40B4-BE49-F238E27FC236}">
                  <a16:creationId xmlns:a16="http://schemas.microsoft.com/office/drawing/2014/main" id="{681C9642-EBE5-43D8-87D8-CEE22EBFF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1783" y="1517"/>
              <a:ext cx="523" cy="111"/>
            </a:xfrm>
            <a:custGeom>
              <a:avLst/>
              <a:gdLst>
                <a:gd name="T0" fmla="*/ 0 w 3743"/>
                <a:gd name="T1" fmla="*/ 0 h 793"/>
                <a:gd name="T2" fmla="*/ 0 w 3743"/>
                <a:gd name="T3" fmla="*/ 0 h 793"/>
                <a:gd name="T4" fmla="*/ 0 w 3743"/>
                <a:gd name="T5" fmla="*/ 0 h 793"/>
                <a:gd name="T6" fmla="*/ 0 w 3743"/>
                <a:gd name="T7" fmla="*/ 0 h 793"/>
                <a:gd name="T8" fmla="*/ 0 w 3743"/>
                <a:gd name="T9" fmla="*/ 0 h 793"/>
                <a:gd name="T10" fmla="*/ 0 w 3743"/>
                <a:gd name="T11" fmla="*/ 0 h 793"/>
                <a:gd name="T12" fmla="*/ 0 w 3743"/>
                <a:gd name="T13" fmla="*/ 0 h 793"/>
                <a:gd name="T14" fmla="*/ 0 w 3743"/>
                <a:gd name="T15" fmla="*/ 0 h 793"/>
                <a:gd name="T16" fmla="*/ 0 w 3743"/>
                <a:gd name="T17" fmla="*/ 0 h 793"/>
                <a:gd name="T18" fmla="*/ 0 w 3743"/>
                <a:gd name="T19" fmla="*/ 0 h 793"/>
                <a:gd name="T20" fmla="*/ 0 w 3743"/>
                <a:gd name="T21" fmla="*/ 0 h 793"/>
                <a:gd name="T22" fmla="*/ 0 w 3743"/>
                <a:gd name="T23" fmla="*/ 0 h 793"/>
                <a:gd name="T24" fmla="*/ 0 w 3743"/>
                <a:gd name="T25" fmla="*/ 0 h 793"/>
                <a:gd name="T26" fmla="*/ 0 w 3743"/>
                <a:gd name="T27" fmla="*/ 0 h 793"/>
                <a:gd name="T28" fmla="*/ 0 w 3743"/>
                <a:gd name="T29" fmla="*/ 0 h 793"/>
                <a:gd name="T30" fmla="*/ 0 w 3743"/>
                <a:gd name="T31" fmla="*/ 0 h 793"/>
                <a:gd name="T32" fmla="*/ 0 w 3743"/>
                <a:gd name="T33" fmla="*/ 0 h 793"/>
                <a:gd name="T34" fmla="*/ 0 w 3743"/>
                <a:gd name="T35" fmla="*/ 0 h 793"/>
                <a:gd name="T36" fmla="*/ 0 w 3743"/>
                <a:gd name="T37" fmla="*/ 0 h 793"/>
                <a:gd name="T38" fmla="*/ 0 w 3743"/>
                <a:gd name="T39" fmla="*/ 0 h 793"/>
                <a:gd name="T40" fmla="*/ 0 w 3743"/>
                <a:gd name="T41" fmla="*/ 0 h 793"/>
                <a:gd name="T42" fmla="*/ 0 w 3743"/>
                <a:gd name="T43" fmla="*/ 0 h 793"/>
                <a:gd name="T44" fmla="*/ 0 w 3743"/>
                <a:gd name="T45" fmla="*/ 0 h 793"/>
                <a:gd name="T46" fmla="*/ 0 w 3743"/>
                <a:gd name="T47" fmla="*/ 0 h 793"/>
                <a:gd name="T48" fmla="*/ 0 w 3743"/>
                <a:gd name="T49" fmla="*/ 0 h 793"/>
                <a:gd name="T50" fmla="*/ 0 w 3743"/>
                <a:gd name="T51" fmla="*/ 0 h 793"/>
                <a:gd name="T52" fmla="*/ 0 w 3743"/>
                <a:gd name="T53" fmla="*/ 0 h 793"/>
                <a:gd name="T54" fmla="*/ 0 w 3743"/>
                <a:gd name="T55" fmla="*/ 0 h 793"/>
                <a:gd name="T56" fmla="*/ 0 w 3743"/>
                <a:gd name="T57" fmla="*/ 0 h 793"/>
                <a:gd name="T58" fmla="*/ 0 w 3743"/>
                <a:gd name="T59" fmla="*/ 0 h 793"/>
                <a:gd name="T60" fmla="*/ 0 w 3743"/>
                <a:gd name="T61" fmla="*/ 0 h 793"/>
                <a:gd name="T62" fmla="*/ 0 w 3743"/>
                <a:gd name="T63" fmla="*/ 0 h 793"/>
                <a:gd name="T64" fmla="*/ 0 w 3743"/>
                <a:gd name="T65" fmla="*/ 0 h 793"/>
                <a:gd name="T66" fmla="*/ 0 w 3743"/>
                <a:gd name="T67" fmla="*/ 0 h 793"/>
                <a:gd name="T68" fmla="*/ 0 w 3743"/>
                <a:gd name="T69" fmla="*/ 0 h 793"/>
                <a:gd name="T70" fmla="*/ 0 w 3743"/>
                <a:gd name="T71" fmla="*/ 0 h 793"/>
                <a:gd name="T72" fmla="*/ 0 w 3743"/>
                <a:gd name="T73" fmla="*/ 0 h 793"/>
                <a:gd name="T74" fmla="*/ 0 w 3743"/>
                <a:gd name="T75" fmla="*/ 0 h 793"/>
                <a:gd name="T76" fmla="*/ 0 w 3743"/>
                <a:gd name="T77" fmla="*/ 0 h 793"/>
                <a:gd name="T78" fmla="*/ 0 w 3743"/>
                <a:gd name="T79" fmla="*/ 0 h 793"/>
                <a:gd name="T80" fmla="*/ 0 w 3743"/>
                <a:gd name="T81" fmla="*/ 0 h 793"/>
                <a:gd name="T82" fmla="*/ 0 w 3743"/>
                <a:gd name="T83" fmla="*/ 0 h 793"/>
                <a:gd name="T84" fmla="*/ 0 w 3743"/>
                <a:gd name="T85" fmla="*/ 0 h 793"/>
                <a:gd name="T86" fmla="*/ 0 w 3743"/>
                <a:gd name="T87" fmla="*/ 0 h 793"/>
                <a:gd name="T88" fmla="*/ 1 w 3743"/>
                <a:gd name="T89" fmla="*/ 0 h 793"/>
                <a:gd name="T90" fmla="*/ 1 w 3743"/>
                <a:gd name="T91" fmla="*/ 0 h 793"/>
                <a:gd name="T92" fmla="*/ 1 w 3743"/>
                <a:gd name="T93" fmla="*/ 0 h 793"/>
                <a:gd name="T94" fmla="*/ 1 w 3743"/>
                <a:gd name="T95" fmla="*/ 0 h 793"/>
                <a:gd name="T96" fmla="*/ 1 w 3743"/>
                <a:gd name="T97" fmla="*/ 0 h 793"/>
                <a:gd name="T98" fmla="*/ 1 w 3743"/>
                <a:gd name="T99" fmla="*/ 0 h 793"/>
                <a:gd name="T100" fmla="*/ 1 w 3743"/>
                <a:gd name="T101" fmla="*/ 0 h 793"/>
                <a:gd name="T102" fmla="*/ 1 w 3743"/>
                <a:gd name="T103" fmla="*/ 0 h 793"/>
                <a:gd name="T104" fmla="*/ 1 w 3743"/>
                <a:gd name="T105" fmla="*/ 0 h 793"/>
                <a:gd name="T106" fmla="*/ 1 w 3743"/>
                <a:gd name="T107" fmla="*/ 0 h 793"/>
                <a:gd name="T108" fmla="*/ 1 w 3743"/>
                <a:gd name="T109" fmla="*/ 0 h 793"/>
                <a:gd name="T110" fmla="*/ 1 w 3743"/>
                <a:gd name="T111" fmla="*/ 0 h 793"/>
                <a:gd name="T112" fmla="*/ 1 w 3743"/>
                <a:gd name="T113" fmla="*/ 0 h 793"/>
                <a:gd name="T114" fmla="*/ 1 w 3743"/>
                <a:gd name="T115" fmla="*/ 0 h 793"/>
                <a:gd name="T116" fmla="*/ 0 w 3743"/>
                <a:gd name="T117" fmla="*/ 0 h 7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743" h="793">
                  <a:moveTo>
                    <a:pt x="243" y="0"/>
                  </a:moveTo>
                  <a:lnTo>
                    <a:pt x="238" y="6"/>
                  </a:lnTo>
                  <a:lnTo>
                    <a:pt x="224" y="25"/>
                  </a:lnTo>
                  <a:lnTo>
                    <a:pt x="204" y="53"/>
                  </a:lnTo>
                  <a:lnTo>
                    <a:pt x="179" y="86"/>
                  </a:lnTo>
                  <a:lnTo>
                    <a:pt x="152" y="123"/>
                  </a:lnTo>
                  <a:lnTo>
                    <a:pt x="124" y="160"/>
                  </a:lnTo>
                  <a:lnTo>
                    <a:pt x="98" y="197"/>
                  </a:lnTo>
                  <a:lnTo>
                    <a:pt x="75" y="227"/>
                  </a:lnTo>
                  <a:lnTo>
                    <a:pt x="58" y="253"/>
                  </a:lnTo>
                  <a:lnTo>
                    <a:pt x="44" y="277"/>
                  </a:lnTo>
                  <a:lnTo>
                    <a:pt x="30" y="302"/>
                  </a:lnTo>
                  <a:lnTo>
                    <a:pt x="19" y="327"/>
                  </a:lnTo>
                  <a:lnTo>
                    <a:pt x="11" y="352"/>
                  </a:lnTo>
                  <a:lnTo>
                    <a:pt x="6" y="377"/>
                  </a:lnTo>
                  <a:lnTo>
                    <a:pt x="2" y="401"/>
                  </a:lnTo>
                  <a:lnTo>
                    <a:pt x="0" y="426"/>
                  </a:lnTo>
                  <a:lnTo>
                    <a:pt x="1" y="451"/>
                  </a:lnTo>
                  <a:lnTo>
                    <a:pt x="4" y="475"/>
                  </a:lnTo>
                  <a:lnTo>
                    <a:pt x="9" y="498"/>
                  </a:lnTo>
                  <a:lnTo>
                    <a:pt x="16" y="521"/>
                  </a:lnTo>
                  <a:lnTo>
                    <a:pt x="26" y="544"/>
                  </a:lnTo>
                  <a:lnTo>
                    <a:pt x="38" y="566"/>
                  </a:lnTo>
                  <a:lnTo>
                    <a:pt x="53" y="588"/>
                  </a:lnTo>
                  <a:lnTo>
                    <a:pt x="70" y="608"/>
                  </a:lnTo>
                  <a:lnTo>
                    <a:pt x="90" y="629"/>
                  </a:lnTo>
                  <a:lnTo>
                    <a:pt x="112" y="647"/>
                  </a:lnTo>
                  <a:lnTo>
                    <a:pt x="136" y="665"/>
                  </a:lnTo>
                  <a:lnTo>
                    <a:pt x="163" y="683"/>
                  </a:lnTo>
                  <a:lnTo>
                    <a:pt x="193" y="699"/>
                  </a:lnTo>
                  <a:lnTo>
                    <a:pt x="224" y="714"/>
                  </a:lnTo>
                  <a:lnTo>
                    <a:pt x="259" y="728"/>
                  </a:lnTo>
                  <a:lnTo>
                    <a:pt x="295" y="742"/>
                  </a:lnTo>
                  <a:lnTo>
                    <a:pt x="335" y="753"/>
                  </a:lnTo>
                  <a:lnTo>
                    <a:pt x="377" y="763"/>
                  </a:lnTo>
                  <a:lnTo>
                    <a:pt x="421" y="772"/>
                  </a:lnTo>
                  <a:lnTo>
                    <a:pt x="469" y="779"/>
                  </a:lnTo>
                  <a:lnTo>
                    <a:pt x="519" y="785"/>
                  </a:lnTo>
                  <a:lnTo>
                    <a:pt x="571" y="790"/>
                  </a:lnTo>
                  <a:lnTo>
                    <a:pt x="626" y="792"/>
                  </a:lnTo>
                  <a:lnTo>
                    <a:pt x="685" y="793"/>
                  </a:lnTo>
                  <a:lnTo>
                    <a:pt x="833" y="793"/>
                  </a:lnTo>
                  <a:lnTo>
                    <a:pt x="999" y="793"/>
                  </a:lnTo>
                  <a:lnTo>
                    <a:pt x="1183" y="793"/>
                  </a:lnTo>
                  <a:lnTo>
                    <a:pt x="1378" y="793"/>
                  </a:lnTo>
                  <a:lnTo>
                    <a:pt x="1581" y="793"/>
                  </a:lnTo>
                  <a:lnTo>
                    <a:pt x="1787" y="793"/>
                  </a:lnTo>
                  <a:lnTo>
                    <a:pt x="1993" y="793"/>
                  </a:lnTo>
                  <a:lnTo>
                    <a:pt x="2195" y="793"/>
                  </a:lnTo>
                  <a:lnTo>
                    <a:pt x="2388" y="793"/>
                  </a:lnTo>
                  <a:lnTo>
                    <a:pt x="2568" y="793"/>
                  </a:lnTo>
                  <a:lnTo>
                    <a:pt x="2732" y="793"/>
                  </a:lnTo>
                  <a:lnTo>
                    <a:pt x="2874" y="793"/>
                  </a:lnTo>
                  <a:lnTo>
                    <a:pt x="2993" y="793"/>
                  </a:lnTo>
                  <a:lnTo>
                    <a:pt x="3082" y="793"/>
                  </a:lnTo>
                  <a:lnTo>
                    <a:pt x="3139" y="793"/>
                  </a:lnTo>
                  <a:lnTo>
                    <a:pt x="3159" y="793"/>
                  </a:lnTo>
                  <a:lnTo>
                    <a:pt x="3743" y="0"/>
                  </a:lnTo>
                  <a:lnTo>
                    <a:pt x="2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577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 sz="1100" kern="0">
                <a:solidFill>
                  <a:srgbClr val="000000"/>
                </a:solidFill>
                <a:latin typeface="Delivery"/>
              </a:endParaRPr>
            </a:p>
          </p:txBody>
        </p:sp>
      </p:grpSp>
      <p:grpSp>
        <p:nvGrpSpPr>
          <p:cNvPr id="251" name="Gruppieren 250"/>
          <p:cNvGrpSpPr/>
          <p:nvPr/>
        </p:nvGrpSpPr>
        <p:grpSpPr>
          <a:xfrm>
            <a:off x="5457734" y="1441076"/>
            <a:ext cx="706532" cy="1707009"/>
            <a:chOff x="5984807" y="1347128"/>
            <a:chExt cx="706750" cy="1707536"/>
          </a:xfrm>
        </p:grpSpPr>
        <p:sp>
          <p:nvSpPr>
            <p:cNvPr id="148" name="Oval 131">
              <a:extLst>
                <a:ext uri="{FF2B5EF4-FFF2-40B4-BE49-F238E27FC236}">
                  <a16:creationId xmlns:a16="http://schemas.microsoft.com/office/drawing/2014/main" id="{6DC1F56D-3078-4FAE-96CD-62A8BBDF0899}"/>
                </a:ext>
              </a:extLst>
            </p:cNvPr>
            <p:cNvSpPr/>
            <p:nvPr/>
          </p:nvSpPr>
          <p:spPr bwMode="gray">
            <a:xfrm>
              <a:off x="6275767" y="1347128"/>
              <a:ext cx="124831" cy="124831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577">
                <a:defRPr/>
              </a:pPr>
              <a:endParaRPr lang="fr-FR" sz="800" kern="0">
                <a:solidFill>
                  <a:prstClr val="white"/>
                </a:solidFill>
                <a:latin typeface="Delivery"/>
              </a:endParaRPr>
            </a:p>
          </p:txBody>
        </p:sp>
        <p:cxnSp>
          <p:nvCxnSpPr>
            <p:cNvPr id="149" name="Straight Connector 132">
              <a:extLst>
                <a:ext uri="{FF2B5EF4-FFF2-40B4-BE49-F238E27FC236}">
                  <a16:creationId xmlns:a16="http://schemas.microsoft.com/office/drawing/2014/main" id="{B7065286-0A49-4476-A234-6B39C0DF3301}"/>
                </a:ext>
              </a:extLst>
            </p:cNvPr>
            <p:cNvCxnSpPr/>
            <p:nvPr/>
          </p:nvCxnSpPr>
          <p:spPr bwMode="gray">
            <a:xfrm>
              <a:off x="6338182" y="1471959"/>
              <a:ext cx="0" cy="413772"/>
            </a:xfrm>
            <a:prstGeom prst="line">
              <a:avLst/>
            </a:prstGeom>
            <a:noFill/>
            <a:ln w="12700" cap="flat" cmpd="sng" algn="ctr">
              <a:solidFill>
                <a:schemeClr val="tx2"/>
              </a:solidFill>
              <a:prstDash val="solid"/>
              <a:headEnd type="none" w="sm" len="sm"/>
              <a:tailEnd type="none" w="sm" len="sm"/>
            </a:ln>
            <a:effectLst/>
          </p:spPr>
        </p:cxnSp>
        <p:sp>
          <p:nvSpPr>
            <p:cNvPr id="150" name="Oval 133">
              <a:extLst>
                <a:ext uri="{FF2B5EF4-FFF2-40B4-BE49-F238E27FC236}">
                  <a16:creationId xmlns:a16="http://schemas.microsoft.com/office/drawing/2014/main" id="{381ADF8A-EC8B-4B6A-A625-B43727342E40}"/>
                </a:ext>
              </a:extLst>
            </p:cNvPr>
            <p:cNvSpPr/>
            <p:nvPr/>
          </p:nvSpPr>
          <p:spPr bwMode="gray">
            <a:xfrm>
              <a:off x="6007742" y="1863701"/>
              <a:ext cx="660876" cy="660876"/>
            </a:xfrm>
            <a:prstGeom prst="ellipse">
              <a:avLst/>
            </a:prstGeom>
            <a:solidFill>
              <a:schemeClr val="bg1"/>
            </a:solidFill>
            <a:ln w="508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577">
                <a:defRPr/>
              </a:pPr>
              <a:endParaRPr lang="fr-FR" sz="800" kern="0">
                <a:solidFill>
                  <a:prstClr val="white"/>
                </a:solidFill>
                <a:latin typeface="Delivery"/>
              </a:endParaRPr>
            </a:p>
          </p:txBody>
        </p:sp>
        <p:grpSp>
          <p:nvGrpSpPr>
            <p:cNvPr id="151" name="Group 134">
              <a:extLst>
                <a:ext uri="{FF2B5EF4-FFF2-40B4-BE49-F238E27FC236}">
                  <a16:creationId xmlns:a16="http://schemas.microsoft.com/office/drawing/2014/main" id="{88A1D220-CD74-41DA-A352-926C4037126A}"/>
                </a:ext>
              </a:extLst>
            </p:cNvPr>
            <p:cNvGrpSpPr/>
            <p:nvPr/>
          </p:nvGrpSpPr>
          <p:grpSpPr bwMode="gray">
            <a:xfrm flipV="1">
              <a:off x="5984807" y="2420345"/>
              <a:ext cx="706750" cy="634319"/>
              <a:chOff x="857251" y="2219326"/>
              <a:chExt cx="511175" cy="458788"/>
            </a:xfrm>
            <a:solidFill>
              <a:schemeClr val="accent2"/>
            </a:solidFill>
          </p:grpSpPr>
          <p:sp>
            <p:nvSpPr>
              <p:cNvPr id="152" name="Oval 106">
                <a:extLst>
                  <a:ext uri="{FF2B5EF4-FFF2-40B4-BE49-F238E27FC236}">
                    <a16:creationId xmlns:a16="http://schemas.microsoft.com/office/drawing/2014/main" id="{46946617-2D43-4B44-A293-18908A4DB39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087438" y="2219326"/>
                <a:ext cx="50800" cy="508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53" name="Oval 107">
                <a:extLst>
                  <a:ext uri="{FF2B5EF4-FFF2-40B4-BE49-F238E27FC236}">
                    <a16:creationId xmlns:a16="http://schemas.microsoft.com/office/drawing/2014/main" id="{2EF6AF99-92D7-4F66-9895-D45526C5D0C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538414"/>
                <a:ext cx="17463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54" name="Oval 108">
                <a:extLst>
                  <a:ext uri="{FF2B5EF4-FFF2-40B4-BE49-F238E27FC236}">
                    <a16:creationId xmlns:a16="http://schemas.microsoft.com/office/drawing/2014/main" id="{EB014BF6-9628-49AF-B032-48EA32E1B62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98726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55" name="Oval 109">
                <a:extLst>
                  <a:ext uri="{FF2B5EF4-FFF2-40B4-BE49-F238E27FC236}">
                    <a16:creationId xmlns:a16="http://schemas.microsoft.com/office/drawing/2014/main" id="{8958CA9D-CD0F-4DCD-8DD8-79D545D426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57451"/>
                <a:ext cx="17463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56" name="Oval 110">
                <a:extLst>
                  <a:ext uri="{FF2B5EF4-FFF2-40B4-BE49-F238E27FC236}">
                    <a16:creationId xmlns:a16="http://schemas.microsoft.com/office/drawing/2014/main" id="{03FC067B-B508-43F7-81E5-F305051BC03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333626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57" name="Oval 111">
                <a:extLst>
                  <a:ext uri="{FF2B5EF4-FFF2-40B4-BE49-F238E27FC236}">
                    <a16:creationId xmlns:a16="http://schemas.microsoft.com/office/drawing/2014/main" id="{03A3E3FE-0E95-489F-805C-EE459692F60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293939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58" name="Oval 112">
                <a:extLst>
                  <a:ext uri="{FF2B5EF4-FFF2-40B4-BE49-F238E27FC236}">
                    <a16:creationId xmlns:a16="http://schemas.microsoft.com/office/drawing/2014/main" id="{0503F23B-DF39-41A5-A81D-3EF7BB339D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14589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59" name="Oval 113">
                <a:extLst>
                  <a:ext uri="{FF2B5EF4-FFF2-40B4-BE49-F238E27FC236}">
                    <a16:creationId xmlns:a16="http://schemas.microsoft.com/office/drawing/2014/main" id="{35C20895-F3D7-4D91-8FFB-A4A0E034C01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373314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60" name="Freeform 114">
                <a:extLst>
                  <a:ext uri="{FF2B5EF4-FFF2-40B4-BE49-F238E27FC236}">
                    <a16:creationId xmlns:a16="http://schemas.microsoft.com/office/drawing/2014/main" id="{64DA3762-0778-4517-8064-DDD7E68532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038" y="2541589"/>
                <a:ext cx="19050" cy="17463"/>
              </a:xfrm>
              <a:custGeom>
                <a:avLst/>
                <a:gdLst>
                  <a:gd name="T0" fmla="*/ 21 w 21"/>
                  <a:gd name="T1" fmla="*/ 9 h 21"/>
                  <a:gd name="T2" fmla="*/ 12 w 21"/>
                  <a:gd name="T3" fmla="*/ 20 h 21"/>
                  <a:gd name="T4" fmla="*/ 1 w 21"/>
                  <a:gd name="T5" fmla="*/ 12 h 21"/>
                  <a:gd name="T6" fmla="*/ 9 w 21"/>
                  <a:gd name="T7" fmla="*/ 0 h 21"/>
                  <a:gd name="T8" fmla="*/ 21 w 21"/>
                  <a:gd name="T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1">
                    <a:moveTo>
                      <a:pt x="21" y="9"/>
                    </a:moveTo>
                    <a:cubicBezTo>
                      <a:pt x="21" y="15"/>
                      <a:pt x="18" y="20"/>
                      <a:pt x="12" y="20"/>
                    </a:cubicBezTo>
                    <a:cubicBezTo>
                      <a:pt x="6" y="21"/>
                      <a:pt x="1" y="17"/>
                      <a:pt x="1" y="12"/>
                    </a:cubicBezTo>
                    <a:cubicBezTo>
                      <a:pt x="0" y="6"/>
                      <a:pt x="4" y="1"/>
                      <a:pt x="9" y="0"/>
                    </a:cubicBezTo>
                    <a:cubicBezTo>
                      <a:pt x="15" y="0"/>
                      <a:pt x="20" y="4"/>
                      <a:pt x="2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61" name="Freeform 115">
                <a:extLst>
                  <a:ext uri="{FF2B5EF4-FFF2-40B4-BE49-F238E27FC236}">
                    <a16:creationId xmlns:a16="http://schemas.microsoft.com/office/drawing/2014/main" id="{7106B5AF-32DF-4470-9339-EB3B08FC2D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22351" y="2547939"/>
                <a:ext cx="20638" cy="20638"/>
              </a:xfrm>
              <a:custGeom>
                <a:avLst/>
                <a:gdLst>
                  <a:gd name="T0" fmla="*/ 21 w 23"/>
                  <a:gd name="T1" fmla="*/ 9 h 23"/>
                  <a:gd name="T2" fmla="*/ 14 w 23"/>
                  <a:gd name="T3" fmla="*/ 21 h 23"/>
                  <a:gd name="T4" fmla="*/ 1 w 23"/>
                  <a:gd name="T5" fmla="*/ 14 h 23"/>
                  <a:gd name="T6" fmla="*/ 9 w 23"/>
                  <a:gd name="T7" fmla="*/ 2 h 23"/>
                  <a:gd name="T8" fmla="*/ 21 w 23"/>
                  <a:gd name="T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1" y="9"/>
                    </a:moveTo>
                    <a:cubicBezTo>
                      <a:pt x="23" y="14"/>
                      <a:pt x="19" y="20"/>
                      <a:pt x="14" y="21"/>
                    </a:cubicBezTo>
                    <a:cubicBezTo>
                      <a:pt x="8" y="23"/>
                      <a:pt x="3" y="19"/>
                      <a:pt x="1" y="14"/>
                    </a:cubicBezTo>
                    <a:cubicBezTo>
                      <a:pt x="0" y="9"/>
                      <a:pt x="3" y="3"/>
                      <a:pt x="9" y="2"/>
                    </a:cubicBezTo>
                    <a:cubicBezTo>
                      <a:pt x="14" y="0"/>
                      <a:pt x="20" y="3"/>
                      <a:pt x="2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62" name="Freeform 116">
                <a:extLst>
                  <a:ext uri="{FF2B5EF4-FFF2-40B4-BE49-F238E27FC236}">
                    <a16:creationId xmlns:a16="http://schemas.microsoft.com/office/drawing/2014/main" id="{659E557D-F175-4D44-9402-14CCD6A752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4251" y="2560639"/>
                <a:ext cx="19050" cy="20638"/>
              </a:xfrm>
              <a:custGeom>
                <a:avLst/>
                <a:gdLst>
                  <a:gd name="T0" fmla="*/ 21 w 23"/>
                  <a:gd name="T1" fmla="*/ 7 h 23"/>
                  <a:gd name="T2" fmla="*/ 15 w 23"/>
                  <a:gd name="T3" fmla="*/ 21 h 23"/>
                  <a:gd name="T4" fmla="*/ 2 w 23"/>
                  <a:gd name="T5" fmla="*/ 15 h 23"/>
                  <a:gd name="T6" fmla="*/ 8 w 23"/>
                  <a:gd name="T7" fmla="*/ 2 h 23"/>
                  <a:gd name="T8" fmla="*/ 21 w 23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1" y="7"/>
                    </a:moveTo>
                    <a:cubicBezTo>
                      <a:pt x="23" y="13"/>
                      <a:pt x="21" y="19"/>
                      <a:pt x="15" y="21"/>
                    </a:cubicBezTo>
                    <a:cubicBezTo>
                      <a:pt x="10" y="23"/>
                      <a:pt x="4" y="20"/>
                      <a:pt x="2" y="15"/>
                    </a:cubicBezTo>
                    <a:cubicBezTo>
                      <a:pt x="0" y="10"/>
                      <a:pt x="2" y="4"/>
                      <a:pt x="8" y="2"/>
                    </a:cubicBezTo>
                    <a:cubicBezTo>
                      <a:pt x="13" y="0"/>
                      <a:pt x="19" y="2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63" name="Freeform 117">
                <a:extLst>
                  <a:ext uri="{FF2B5EF4-FFF2-40B4-BE49-F238E27FC236}">
                    <a16:creationId xmlns:a16="http://schemas.microsoft.com/office/drawing/2014/main" id="{03C9F9A2-5398-4CC7-9F00-62D4827A2A4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6151" y="2578101"/>
                <a:ext cx="22225" cy="20638"/>
              </a:xfrm>
              <a:custGeom>
                <a:avLst/>
                <a:gdLst>
                  <a:gd name="T0" fmla="*/ 21 w 24"/>
                  <a:gd name="T1" fmla="*/ 7 h 23"/>
                  <a:gd name="T2" fmla="*/ 17 w 24"/>
                  <a:gd name="T3" fmla="*/ 21 h 23"/>
                  <a:gd name="T4" fmla="*/ 3 w 24"/>
                  <a:gd name="T5" fmla="*/ 17 h 23"/>
                  <a:gd name="T6" fmla="*/ 7 w 24"/>
                  <a:gd name="T7" fmla="*/ 3 h 23"/>
                  <a:gd name="T8" fmla="*/ 21 w 24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3">
                    <a:moveTo>
                      <a:pt x="21" y="7"/>
                    </a:moveTo>
                    <a:cubicBezTo>
                      <a:pt x="24" y="12"/>
                      <a:pt x="22" y="18"/>
                      <a:pt x="17" y="21"/>
                    </a:cubicBezTo>
                    <a:cubicBezTo>
                      <a:pt x="12" y="23"/>
                      <a:pt x="6" y="22"/>
                      <a:pt x="3" y="17"/>
                    </a:cubicBezTo>
                    <a:cubicBezTo>
                      <a:pt x="0" y="12"/>
                      <a:pt x="2" y="6"/>
                      <a:pt x="7" y="3"/>
                    </a:cubicBezTo>
                    <a:cubicBezTo>
                      <a:pt x="12" y="0"/>
                      <a:pt x="18" y="2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64" name="Freeform 118">
                <a:extLst>
                  <a:ext uri="{FF2B5EF4-FFF2-40B4-BE49-F238E27FC236}">
                    <a16:creationId xmlns:a16="http://schemas.microsoft.com/office/drawing/2014/main" id="{E1D89F36-4A53-485D-89A2-A5901A3F3F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2813" y="2601914"/>
                <a:ext cx="20638" cy="19050"/>
              </a:xfrm>
              <a:custGeom>
                <a:avLst/>
                <a:gdLst>
                  <a:gd name="T0" fmla="*/ 20 w 23"/>
                  <a:gd name="T1" fmla="*/ 5 h 23"/>
                  <a:gd name="T2" fmla="*/ 18 w 23"/>
                  <a:gd name="T3" fmla="*/ 20 h 23"/>
                  <a:gd name="T4" fmla="*/ 3 w 23"/>
                  <a:gd name="T5" fmla="*/ 18 h 23"/>
                  <a:gd name="T6" fmla="*/ 5 w 23"/>
                  <a:gd name="T7" fmla="*/ 3 h 23"/>
                  <a:gd name="T8" fmla="*/ 20 w 23"/>
                  <a:gd name="T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0" y="5"/>
                    </a:moveTo>
                    <a:cubicBezTo>
                      <a:pt x="23" y="10"/>
                      <a:pt x="22" y="16"/>
                      <a:pt x="18" y="20"/>
                    </a:cubicBezTo>
                    <a:cubicBezTo>
                      <a:pt x="13" y="23"/>
                      <a:pt x="7" y="22"/>
                      <a:pt x="3" y="18"/>
                    </a:cubicBezTo>
                    <a:cubicBezTo>
                      <a:pt x="0" y="13"/>
                      <a:pt x="1" y="7"/>
                      <a:pt x="5" y="3"/>
                    </a:cubicBezTo>
                    <a:cubicBezTo>
                      <a:pt x="10" y="0"/>
                      <a:pt x="16" y="1"/>
                      <a:pt x="2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65" name="Freeform 119">
                <a:extLst>
                  <a:ext uri="{FF2B5EF4-FFF2-40B4-BE49-F238E27FC236}">
                    <a16:creationId xmlns:a16="http://schemas.microsoft.com/office/drawing/2014/main" id="{CEA5A23E-007F-4FB7-9266-D6800FADD5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4238" y="2628901"/>
                <a:ext cx="19050" cy="19050"/>
              </a:xfrm>
              <a:custGeom>
                <a:avLst/>
                <a:gdLst>
                  <a:gd name="T0" fmla="*/ 18 w 22"/>
                  <a:gd name="T1" fmla="*/ 4 h 22"/>
                  <a:gd name="T2" fmla="*/ 18 w 22"/>
                  <a:gd name="T3" fmla="*/ 18 h 22"/>
                  <a:gd name="T4" fmla="*/ 4 w 22"/>
                  <a:gd name="T5" fmla="*/ 18 h 22"/>
                  <a:gd name="T6" fmla="*/ 4 w 22"/>
                  <a:gd name="T7" fmla="*/ 4 h 22"/>
                  <a:gd name="T8" fmla="*/ 18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8" y="4"/>
                    </a:moveTo>
                    <a:cubicBezTo>
                      <a:pt x="22" y="8"/>
                      <a:pt x="22" y="14"/>
                      <a:pt x="18" y="18"/>
                    </a:cubicBezTo>
                    <a:cubicBezTo>
                      <a:pt x="14" y="22"/>
                      <a:pt x="8" y="22"/>
                      <a:pt x="4" y="18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4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66" name="Freeform 120">
                <a:extLst>
                  <a:ext uri="{FF2B5EF4-FFF2-40B4-BE49-F238E27FC236}">
                    <a16:creationId xmlns:a16="http://schemas.microsoft.com/office/drawing/2014/main" id="{7A9ECBE7-8C03-4ED3-8433-73EECA3B53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251" y="2659064"/>
                <a:ext cx="19050" cy="19050"/>
              </a:xfrm>
              <a:custGeom>
                <a:avLst/>
                <a:gdLst>
                  <a:gd name="T0" fmla="*/ 18 w 23"/>
                  <a:gd name="T1" fmla="*/ 4 h 23"/>
                  <a:gd name="T2" fmla="*/ 19 w 23"/>
                  <a:gd name="T3" fmla="*/ 18 h 23"/>
                  <a:gd name="T4" fmla="*/ 5 w 23"/>
                  <a:gd name="T5" fmla="*/ 20 h 23"/>
                  <a:gd name="T6" fmla="*/ 3 w 23"/>
                  <a:gd name="T7" fmla="*/ 5 h 23"/>
                  <a:gd name="T8" fmla="*/ 18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8" y="4"/>
                    </a:moveTo>
                    <a:cubicBezTo>
                      <a:pt x="22" y="7"/>
                      <a:pt x="23" y="13"/>
                      <a:pt x="19" y="18"/>
                    </a:cubicBezTo>
                    <a:cubicBezTo>
                      <a:pt x="16" y="22"/>
                      <a:pt x="10" y="23"/>
                      <a:pt x="5" y="20"/>
                    </a:cubicBezTo>
                    <a:cubicBezTo>
                      <a:pt x="1" y="16"/>
                      <a:pt x="0" y="10"/>
                      <a:pt x="3" y="5"/>
                    </a:cubicBezTo>
                    <a:cubicBezTo>
                      <a:pt x="7" y="1"/>
                      <a:pt x="13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67" name="Freeform 121">
                <a:extLst>
                  <a:ext uri="{FF2B5EF4-FFF2-40B4-BE49-F238E27FC236}">
                    <a16:creationId xmlns:a16="http://schemas.microsoft.com/office/drawing/2014/main" id="{E23C9A7C-3CD0-427F-8B06-9B362B9B1A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4238" y="2628901"/>
                <a:ext cx="19050" cy="19050"/>
              </a:xfrm>
              <a:custGeom>
                <a:avLst/>
                <a:gdLst>
                  <a:gd name="T0" fmla="*/ 18 w 22"/>
                  <a:gd name="T1" fmla="*/ 4 h 22"/>
                  <a:gd name="T2" fmla="*/ 18 w 22"/>
                  <a:gd name="T3" fmla="*/ 18 h 22"/>
                  <a:gd name="T4" fmla="*/ 4 w 22"/>
                  <a:gd name="T5" fmla="*/ 18 h 22"/>
                  <a:gd name="T6" fmla="*/ 4 w 22"/>
                  <a:gd name="T7" fmla="*/ 4 h 22"/>
                  <a:gd name="T8" fmla="*/ 18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8" y="4"/>
                    </a:moveTo>
                    <a:cubicBezTo>
                      <a:pt x="22" y="8"/>
                      <a:pt x="22" y="14"/>
                      <a:pt x="18" y="18"/>
                    </a:cubicBezTo>
                    <a:cubicBezTo>
                      <a:pt x="14" y="22"/>
                      <a:pt x="8" y="22"/>
                      <a:pt x="4" y="18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4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68" name="Freeform 122">
                <a:extLst>
                  <a:ext uri="{FF2B5EF4-FFF2-40B4-BE49-F238E27FC236}">
                    <a16:creationId xmlns:a16="http://schemas.microsoft.com/office/drawing/2014/main" id="{49182900-5BD5-4046-B90F-CDD79408C7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251" y="2659064"/>
                <a:ext cx="19050" cy="19050"/>
              </a:xfrm>
              <a:custGeom>
                <a:avLst/>
                <a:gdLst>
                  <a:gd name="T0" fmla="*/ 18 w 23"/>
                  <a:gd name="T1" fmla="*/ 4 h 23"/>
                  <a:gd name="T2" fmla="*/ 19 w 23"/>
                  <a:gd name="T3" fmla="*/ 18 h 23"/>
                  <a:gd name="T4" fmla="*/ 5 w 23"/>
                  <a:gd name="T5" fmla="*/ 20 h 23"/>
                  <a:gd name="T6" fmla="*/ 3 w 23"/>
                  <a:gd name="T7" fmla="*/ 5 h 23"/>
                  <a:gd name="T8" fmla="*/ 18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8" y="4"/>
                    </a:moveTo>
                    <a:cubicBezTo>
                      <a:pt x="22" y="7"/>
                      <a:pt x="23" y="13"/>
                      <a:pt x="19" y="18"/>
                    </a:cubicBezTo>
                    <a:cubicBezTo>
                      <a:pt x="16" y="22"/>
                      <a:pt x="10" y="23"/>
                      <a:pt x="5" y="20"/>
                    </a:cubicBezTo>
                    <a:cubicBezTo>
                      <a:pt x="1" y="16"/>
                      <a:pt x="0" y="10"/>
                      <a:pt x="3" y="5"/>
                    </a:cubicBezTo>
                    <a:cubicBezTo>
                      <a:pt x="7" y="1"/>
                      <a:pt x="13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69" name="Freeform 123">
                <a:extLst>
                  <a:ext uri="{FF2B5EF4-FFF2-40B4-BE49-F238E27FC236}">
                    <a16:creationId xmlns:a16="http://schemas.microsoft.com/office/drawing/2014/main" id="{E30FB0F8-2B85-4CE7-8410-72E91CCBF9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43001" y="2541589"/>
                <a:ext cx="19050" cy="17463"/>
              </a:xfrm>
              <a:custGeom>
                <a:avLst/>
                <a:gdLst>
                  <a:gd name="T0" fmla="*/ 1 w 22"/>
                  <a:gd name="T1" fmla="*/ 9 h 21"/>
                  <a:gd name="T2" fmla="*/ 10 w 22"/>
                  <a:gd name="T3" fmla="*/ 20 h 21"/>
                  <a:gd name="T4" fmla="*/ 21 w 22"/>
                  <a:gd name="T5" fmla="*/ 12 h 21"/>
                  <a:gd name="T6" fmla="*/ 12 w 22"/>
                  <a:gd name="T7" fmla="*/ 0 h 21"/>
                  <a:gd name="T8" fmla="*/ 1 w 22"/>
                  <a:gd name="T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1">
                    <a:moveTo>
                      <a:pt x="1" y="9"/>
                    </a:moveTo>
                    <a:cubicBezTo>
                      <a:pt x="0" y="15"/>
                      <a:pt x="4" y="20"/>
                      <a:pt x="10" y="20"/>
                    </a:cubicBezTo>
                    <a:cubicBezTo>
                      <a:pt x="15" y="21"/>
                      <a:pt x="20" y="17"/>
                      <a:pt x="21" y="12"/>
                    </a:cubicBezTo>
                    <a:cubicBezTo>
                      <a:pt x="22" y="6"/>
                      <a:pt x="18" y="1"/>
                      <a:pt x="12" y="0"/>
                    </a:cubicBezTo>
                    <a:cubicBezTo>
                      <a:pt x="7" y="0"/>
                      <a:pt x="2" y="4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70" name="Freeform 124">
                <a:extLst>
                  <a:ext uri="{FF2B5EF4-FFF2-40B4-BE49-F238E27FC236}">
                    <a16:creationId xmlns:a16="http://schemas.microsoft.com/office/drawing/2014/main" id="{EFBF0448-5AF2-4EBA-86DB-646F670E7F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2688" y="2547939"/>
                <a:ext cx="19050" cy="20638"/>
              </a:xfrm>
              <a:custGeom>
                <a:avLst/>
                <a:gdLst>
                  <a:gd name="T0" fmla="*/ 1 w 23"/>
                  <a:gd name="T1" fmla="*/ 9 h 23"/>
                  <a:gd name="T2" fmla="*/ 9 w 23"/>
                  <a:gd name="T3" fmla="*/ 21 h 23"/>
                  <a:gd name="T4" fmla="*/ 21 w 23"/>
                  <a:gd name="T5" fmla="*/ 14 h 23"/>
                  <a:gd name="T6" fmla="*/ 14 w 23"/>
                  <a:gd name="T7" fmla="*/ 2 h 23"/>
                  <a:gd name="T8" fmla="*/ 1 w 23"/>
                  <a:gd name="T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" y="9"/>
                    </a:moveTo>
                    <a:cubicBezTo>
                      <a:pt x="0" y="14"/>
                      <a:pt x="3" y="20"/>
                      <a:pt x="9" y="21"/>
                    </a:cubicBezTo>
                    <a:cubicBezTo>
                      <a:pt x="14" y="23"/>
                      <a:pt x="20" y="19"/>
                      <a:pt x="21" y="14"/>
                    </a:cubicBezTo>
                    <a:cubicBezTo>
                      <a:pt x="23" y="9"/>
                      <a:pt x="19" y="3"/>
                      <a:pt x="14" y="2"/>
                    </a:cubicBezTo>
                    <a:cubicBezTo>
                      <a:pt x="8" y="0"/>
                      <a:pt x="3" y="3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71" name="Freeform 125">
                <a:extLst>
                  <a:ext uri="{FF2B5EF4-FFF2-40B4-BE49-F238E27FC236}">
                    <a16:creationId xmlns:a16="http://schemas.microsoft.com/office/drawing/2014/main" id="{CAC8B502-2941-453C-8B74-04A58B772A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19201" y="2560639"/>
                <a:ext cx="22225" cy="20638"/>
              </a:xfrm>
              <a:custGeom>
                <a:avLst/>
                <a:gdLst>
                  <a:gd name="T0" fmla="*/ 3 w 24"/>
                  <a:gd name="T1" fmla="*/ 7 h 23"/>
                  <a:gd name="T2" fmla="*/ 8 w 24"/>
                  <a:gd name="T3" fmla="*/ 21 h 23"/>
                  <a:gd name="T4" fmla="*/ 21 w 24"/>
                  <a:gd name="T5" fmla="*/ 15 h 23"/>
                  <a:gd name="T6" fmla="*/ 16 w 24"/>
                  <a:gd name="T7" fmla="*/ 2 h 23"/>
                  <a:gd name="T8" fmla="*/ 3 w 24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3">
                    <a:moveTo>
                      <a:pt x="3" y="7"/>
                    </a:moveTo>
                    <a:cubicBezTo>
                      <a:pt x="0" y="13"/>
                      <a:pt x="3" y="19"/>
                      <a:pt x="8" y="21"/>
                    </a:cubicBezTo>
                    <a:cubicBezTo>
                      <a:pt x="13" y="23"/>
                      <a:pt x="19" y="20"/>
                      <a:pt x="21" y="15"/>
                    </a:cubicBezTo>
                    <a:cubicBezTo>
                      <a:pt x="24" y="10"/>
                      <a:pt x="21" y="4"/>
                      <a:pt x="16" y="2"/>
                    </a:cubicBezTo>
                    <a:cubicBezTo>
                      <a:pt x="11" y="0"/>
                      <a:pt x="5" y="2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72" name="Freeform 126">
                <a:extLst>
                  <a:ext uri="{FF2B5EF4-FFF2-40B4-BE49-F238E27FC236}">
                    <a16:creationId xmlns:a16="http://schemas.microsoft.com/office/drawing/2014/main" id="{9EAC4E54-C23D-469C-8E24-5B1DF0F8251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57301" y="2578101"/>
                <a:ext cx="19050" cy="20638"/>
              </a:xfrm>
              <a:custGeom>
                <a:avLst/>
                <a:gdLst>
                  <a:gd name="T0" fmla="*/ 3 w 23"/>
                  <a:gd name="T1" fmla="*/ 7 h 23"/>
                  <a:gd name="T2" fmla="*/ 6 w 23"/>
                  <a:gd name="T3" fmla="*/ 21 h 23"/>
                  <a:gd name="T4" fmla="*/ 20 w 23"/>
                  <a:gd name="T5" fmla="*/ 17 h 23"/>
                  <a:gd name="T6" fmla="*/ 17 w 23"/>
                  <a:gd name="T7" fmla="*/ 3 h 23"/>
                  <a:gd name="T8" fmla="*/ 3 w 23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3" y="7"/>
                    </a:moveTo>
                    <a:cubicBezTo>
                      <a:pt x="0" y="12"/>
                      <a:pt x="2" y="18"/>
                      <a:pt x="6" y="21"/>
                    </a:cubicBezTo>
                    <a:cubicBezTo>
                      <a:pt x="11" y="23"/>
                      <a:pt x="17" y="22"/>
                      <a:pt x="20" y="17"/>
                    </a:cubicBezTo>
                    <a:cubicBezTo>
                      <a:pt x="23" y="12"/>
                      <a:pt x="21" y="6"/>
                      <a:pt x="17" y="3"/>
                    </a:cubicBezTo>
                    <a:cubicBezTo>
                      <a:pt x="12" y="0"/>
                      <a:pt x="5" y="2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73" name="Freeform 127">
                <a:extLst>
                  <a:ext uri="{FF2B5EF4-FFF2-40B4-BE49-F238E27FC236}">
                    <a16:creationId xmlns:a16="http://schemas.microsoft.com/office/drawing/2014/main" id="{11DA6EA9-7669-432F-9123-8178841F97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90638" y="2601914"/>
                <a:ext cx="19050" cy="19050"/>
              </a:xfrm>
              <a:custGeom>
                <a:avLst/>
                <a:gdLst>
                  <a:gd name="T0" fmla="*/ 4 w 23"/>
                  <a:gd name="T1" fmla="*/ 5 h 23"/>
                  <a:gd name="T2" fmla="*/ 6 w 23"/>
                  <a:gd name="T3" fmla="*/ 20 h 23"/>
                  <a:gd name="T4" fmla="*/ 20 w 23"/>
                  <a:gd name="T5" fmla="*/ 18 h 23"/>
                  <a:gd name="T6" fmla="*/ 18 w 23"/>
                  <a:gd name="T7" fmla="*/ 3 h 23"/>
                  <a:gd name="T8" fmla="*/ 4 w 23"/>
                  <a:gd name="T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4" y="5"/>
                    </a:moveTo>
                    <a:cubicBezTo>
                      <a:pt x="0" y="10"/>
                      <a:pt x="1" y="16"/>
                      <a:pt x="6" y="20"/>
                    </a:cubicBezTo>
                    <a:cubicBezTo>
                      <a:pt x="10" y="23"/>
                      <a:pt x="17" y="22"/>
                      <a:pt x="20" y="18"/>
                    </a:cubicBezTo>
                    <a:cubicBezTo>
                      <a:pt x="23" y="13"/>
                      <a:pt x="23" y="7"/>
                      <a:pt x="18" y="3"/>
                    </a:cubicBezTo>
                    <a:cubicBezTo>
                      <a:pt x="14" y="0"/>
                      <a:pt x="7" y="1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74" name="Freeform 128">
                <a:extLst>
                  <a:ext uri="{FF2B5EF4-FFF2-40B4-BE49-F238E27FC236}">
                    <a16:creationId xmlns:a16="http://schemas.microsoft.com/office/drawing/2014/main" id="{BFA4F48D-1F1C-45E5-B1BA-EAC0E4C3B3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20801" y="2628901"/>
                <a:ext cx="20638" cy="19050"/>
              </a:xfrm>
              <a:custGeom>
                <a:avLst/>
                <a:gdLst>
                  <a:gd name="T0" fmla="*/ 4 w 22"/>
                  <a:gd name="T1" fmla="*/ 4 h 22"/>
                  <a:gd name="T2" fmla="*/ 4 w 22"/>
                  <a:gd name="T3" fmla="*/ 18 h 22"/>
                  <a:gd name="T4" fmla="*/ 18 w 22"/>
                  <a:gd name="T5" fmla="*/ 18 h 22"/>
                  <a:gd name="T6" fmla="*/ 18 w 22"/>
                  <a:gd name="T7" fmla="*/ 4 h 22"/>
                  <a:gd name="T8" fmla="*/ 4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4" y="4"/>
                    </a:moveTo>
                    <a:cubicBezTo>
                      <a:pt x="0" y="8"/>
                      <a:pt x="0" y="14"/>
                      <a:pt x="4" y="18"/>
                    </a:cubicBezTo>
                    <a:cubicBezTo>
                      <a:pt x="7" y="22"/>
                      <a:pt x="14" y="22"/>
                      <a:pt x="18" y="18"/>
                    </a:cubicBezTo>
                    <a:cubicBezTo>
                      <a:pt x="22" y="14"/>
                      <a:pt x="22" y="8"/>
                      <a:pt x="18" y="4"/>
                    </a:cubicBezTo>
                    <a:cubicBezTo>
                      <a:pt x="14" y="0"/>
                      <a:pt x="7" y="0"/>
                      <a:pt x="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75" name="Freeform 129">
                <a:extLst>
                  <a:ext uri="{FF2B5EF4-FFF2-40B4-BE49-F238E27FC236}">
                    <a16:creationId xmlns:a16="http://schemas.microsoft.com/office/drawing/2014/main" id="{69D66956-8930-4906-9A27-EEDE3AA3BE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47788" y="2659064"/>
                <a:ext cx="20638" cy="19050"/>
              </a:xfrm>
              <a:custGeom>
                <a:avLst/>
                <a:gdLst>
                  <a:gd name="T0" fmla="*/ 5 w 23"/>
                  <a:gd name="T1" fmla="*/ 4 h 23"/>
                  <a:gd name="T2" fmla="*/ 3 w 23"/>
                  <a:gd name="T3" fmla="*/ 18 h 23"/>
                  <a:gd name="T4" fmla="*/ 17 w 23"/>
                  <a:gd name="T5" fmla="*/ 20 h 23"/>
                  <a:gd name="T6" fmla="*/ 19 w 23"/>
                  <a:gd name="T7" fmla="*/ 5 h 23"/>
                  <a:gd name="T8" fmla="*/ 5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5" y="4"/>
                    </a:moveTo>
                    <a:cubicBezTo>
                      <a:pt x="1" y="7"/>
                      <a:pt x="0" y="13"/>
                      <a:pt x="3" y="18"/>
                    </a:cubicBezTo>
                    <a:cubicBezTo>
                      <a:pt x="7" y="22"/>
                      <a:pt x="13" y="23"/>
                      <a:pt x="17" y="20"/>
                    </a:cubicBezTo>
                    <a:cubicBezTo>
                      <a:pt x="22" y="16"/>
                      <a:pt x="23" y="10"/>
                      <a:pt x="19" y="5"/>
                    </a:cubicBezTo>
                    <a:cubicBezTo>
                      <a:pt x="16" y="1"/>
                      <a:pt x="9" y="0"/>
                      <a:pt x="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</p:grpSp>
        <p:sp>
          <p:nvSpPr>
            <p:cNvPr id="226" name="Textfeld 3">
              <a:extLst>
                <a:ext uri="{FF2B5EF4-FFF2-40B4-BE49-F238E27FC236}">
                  <a16:creationId xmlns:a16="http://schemas.microsoft.com/office/drawing/2014/main" id="{CA559A44-06C1-4A8F-BF27-4003B73EF485}"/>
                </a:ext>
              </a:extLst>
            </p:cNvPr>
            <p:cNvSpPr txBox="1"/>
            <p:nvPr/>
          </p:nvSpPr>
          <p:spPr bwMode="gray">
            <a:xfrm>
              <a:off x="6118569" y="2029976"/>
              <a:ext cx="439222" cy="3283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685577">
                <a:lnSpc>
                  <a:spcPct val="110000"/>
                </a:lnSpc>
                <a:spcAft>
                  <a:spcPts val="375"/>
                </a:spcAft>
                <a:defRPr/>
              </a:pPr>
              <a:r>
                <a:rPr lang="fr-FR" sz="2000" b="1">
                  <a:solidFill>
                    <a:srgbClr val="007C39"/>
                  </a:solidFill>
                  <a:latin typeface="Delivery"/>
                </a:rPr>
                <a:t>30</a:t>
              </a:r>
            </a:p>
          </p:txBody>
        </p:sp>
      </p:grpSp>
      <p:grpSp>
        <p:nvGrpSpPr>
          <p:cNvPr id="252" name="Gruppieren 251"/>
          <p:cNvGrpSpPr/>
          <p:nvPr/>
        </p:nvGrpSpPr>
        <p:grpSpPr>
          <a:xfrm>
            <a:off x="6706621" y="1441076"/>
            <a:ext cx="706532" cy="1707009"/>
            <a:chOff x="6699501" y="1347128"/>
            <a:chExt cx="706750" cy="1707536"/>
          </a:xfrm>
        </p:grpSpPr>
        <p:sp>
          <p:nvSpPr>
            <p:cNvPr id="176" name="Oval 159">
              <a:extLst>
                <a:ext uri="{FF2B5EF4-FFF2-40B4-BE49-F238E27FC236}">
                  <a16:creationId xmlns:a16="http://schemas.microsoft.com/office/drawing/2014/main" id="{B7A441D7-9CA1-4083-9D0C-374C7863D746}"/>
                </a:ext>
              </a:extLst>
            </p:cNvPr>
            <p:cNvSpPr/>
            <p:nvPr/>
          </p:nvSpPr>
          <p:spPr bwMode="gray">
            <a:xfrm>
              <a:off x="6990458" y="1347128"/>
              <a:ext cx="124831" cy="124831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577">
                <a:defRPr/>
              </a:pPr>
              <a:endParaRPr lang="fr-FR" sz="800" kern="0">
                <a:solidFill>
                  <a:prstClr val="white"/>
                </a:solidFill>
                <a:latin typeface="Delivery"/>
              </a:endParaRPr>
            </a:p>
          </p:txBody>
        </p:sp>
        <p:cxnSp>
          <p:nvCxnSpPr>
            <p:cNvPr id="177" name="Straight Connector 160">
              <a:extLst>
                <a:ext uri="{FF2B5EF4-FFF2-40B4-BE49-F238E27FC236}">
                  <a16:creationId xmlns:a16="http://schemas.microsoft.com/office/drawing/2014/main" id="{147B9E90-0A2D-4874-BC0F-8BB73616C60B}"/>
                </a:ext>
              </a:extLst>
            </p:cNvPr>
            <p:cNvCxnSpPr/>
            <p:nvPr/>
          </p:nvCxnSpPr>
          <p:spPr bwMode="gray">
            <a:xfrm>
              <a:off x="7052876" y="1471958"/>
              <a:ext cx="0" cy="413772"/>
            </a:xfrm>
            <a:prstGeom prst="line">
              <a:avLst/>
            </a:prstGeom>
            <a:noFill/>
            <a:ln w="12700" cap="flat" cmpd="sng" algn="ctr">
              <a:solidFill>
                <a:schemeClr val="tx2"/>
              </a:solidFill>
              <a:prstDash val="solid"/>
              <a:headEnd type="none" w="sm" len="sm"/>
              <a:tailEnd type="none" w="sm" len="sm"/>
            </a:ln>
            <a:effectLst/>
          </p:spPr>
        </p:cxnSp>
        <p:sp>
          <p:nvSpPr>
            <p:cNvPr id="178" name="Oval 161">
              <a:extLst>
                <a:ext uri="{FF2B5EF4-FFF2-40B4-BE49-F238E27FC236}">
                  <a16:creationId xmlns:a16="http://schemas.microsoft.com/office/drawing/2014/main" id="{B671FBC7-27CE-4342-8AA9-8E16775C765E}"/>
                </a:ext>
              </a:extLst>
            </p:cNvPr>
            <p:cNvSpPr/>
            <p:nvPr/>
          </p:nvSpPr>
          <p:spPr bwMode="gray">
            <a:xfrm>
              <a:off x="6722438" y="1863700"/>
              <a:ext cx="660876" cy="660875"/>
            </a:xfrm>
            <a:prstGeom prst="ellipse">
              <a:avLst/>
            </a:prstGeom>
            <a:solidFill>
              <a:schemeClr val="bg1"/>
            </a:solidFill>
            <a:ln w="508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577">
                <a:defRPr/>
              </a:pPr>
              <a:endParaRPr lang="fr-FR" sz="800" kern="0">
                <a:solidFill>
                  <a:prstClr val="white"/>
                </a:solidFill>
                <a:latin typeface="Delivery"/>
              </a:endParaRPr>
            </a:p>
          </p:txBody>
        </p:sp>
        <p:grpSp>
          <p:nvGrpSpPr>
            <p:cNvPr id="179" name="Group 162">
              <a:extLst>
                <a:ext uri="{FF2B5EF4-FFF2-40B4-BE49-F238E27FC236}">
                  <a16:creationId xmlns:a16="http://schemas.microsoft.com/office/drawing/2014/main" id="{7C5ACD20-1C89-466B-A457-6C2273E77520}"/>
                </a:ext>
              </a:extLst>
            </p:cNvPr>
            <p:cNvGrpSpPr/>
            <p:nvPr/>
          </p:nvGrpSpPr>
          <p:grpSpPr bwMode="gray">
            <a:xfrm flipV="1">
              <a:off x="6699501" y="2420345"/>
              <a:ext cx="706750" cy="634319"/>
              <a:chOff x="857251" y="2219326"/>
              <a:chExt cx="511175" cy="458788"/>
            </a:xfrm>
            <a:solidFill>
              <a:schemeClr val="accent2"/>
            </a:solidFill>
          </p:grpSpPr>
          <p:sp>
            <p:nvSpPr>
              <p:cNvPr id="180" name="Oval 106">
                <a:extLst>
                  <a:ext uri="{FF2B5EF4-FFF2-40B4-BE49-F238E27FC236}">
                    <a16:creationId xmlns:a16="http://schemas.microsoft.com/office/drawing/2014/main" id="{11271796-26D8-4C83-9A53-09668794CC1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087438" y="2219326"/>
                <a:ext cx="50800" cy="508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81" name="Oval 107">
                <a:extLst>
                  <a:ext uri="{FF2B5EF4-FFF2-40B4-BE49-F238E27FC236}">
                    <a16:creationId xmlns:a16="http://schemas.microsoft.com/office/drawing/2014/main" id="{054BD17A-BF85-484B-9E34-0FED4970CB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538414"/>
                <a:ext cx="17463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82" name="Oval 108">
                <a:extLst>
                  <a:ext uri="{FF2B5EF4-FFF2-40B4-BE49-F238E27FC236}">
                    <a16:creationId xmlns:a16="http://schemas.microsoft.com/office/drawing/2014/main" id="{1932C407-73C6-4CEB-AED3-06DDCD288F9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98726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83" name="Oval 109">
                <a:extLst>
                  <a:ext uri="{FF2B5EF4-FFF2-40B4-BE49-F238E27FC236}">
                    <a16:creationId xmlns:a16="http://schemas.microsoft.com/office/drawing/2014/main" id="{60D59099-7642-408E-B4A4-5C17A4C55C9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57451"/>
                <a:ext cx="17463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84" name="Oval 110">
                <a:extLst>
                  <a:ext uri="{FF2B5EF4-FFF2-40B4-BE49-F238E27FC236}">
                    <a16:creationId xmlns:a16="http://schemas.microsoft.com/office/drawing/2014/main" id="{D41EDCC0-77BA-46B1-B489-5C4943DA4C5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333626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85" name="Oval 111">
                <a:extLst>
                  <a:ext uri="{FF2B5EF4-FFF2-40B4-BE49-F238E27FC236}">
                    <a16:creationId xmlns:a16="http://schemas.microsoft.com/office/drawing/2014/main" id="{4F5EDE6C-CBE1-4A32-85A0-19F79D81774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293939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86" name="Oval 112">
                <a:extLst>
                  <a:ext uri="{FF2B5EF4-FFF2-40B4-BE49-F238E27FC236}">
                    <a16:creationId xmlns:a16="http://schemas.microsoft.com/office/drawing/2014/main" id="{D9F95C15-97C5-4E45-B919-CBD18E162C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14589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87" name="Oval 113">
                <a:extLst>
                  <a:ext uri="{FF2B5EF4-FFF2-40B4-BE49-F238E27FC236}">
                    <a16:creationId xmlns:a16="http://schemas.microsoft.com/office/drawing/2014/main" id="{DD40124E-479C-4A67-A4D4-F91E397C2A4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373314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88" name="Freeform 114">
                <a:extLst>
                  <a:ext uri="{FF2B5EF4-FFF2-40B4-BE49-F238E27FC236}">
                    <a16:creationId xmlns:a16="http://schemas.microsoft.com/office/drawing/2014/main" id="{46E7D038-E503-4F48-BAF2-024C47C496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038" y="2541589"/>
                <a:ext cx="19050" cy="17463"/>
              </a:xfrm>
              <a:custGeom>
                <a:avLst/>
                <a:gdLst>
                  <a:gd name="T0" fmla="*/ 21 w 21"/>
                  <a:gd name="T1" fmla="*/ 9 h 21"/>
                  <a:gd name="T2" fmla="*/ 12 w 21"/>
                  <a:gd name="T3" fmla="*/ 20 h 21"/>
                  <a:gd name="T4" fmla="*/ 1 w 21"/>
                  <a:gd name="T5" fmla="*/ 12 h 21"/>
                  <a:gd name="T6" fmla="*/ 9 w 21"/>
                  <a:gd name="T7" fmla="*/ 0 h 21"/>
                  <a:gd name="T8" fmla="*/ 21 w 21"/>
                  <a:gd name="T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1">
                    <a:moveTo>
                      <a:pt x="21" y="9"/>
                    </a:moveTo>
                    <a:cubicBezTo>
                      <a:pt x="21" y="15"/>
                      <a:pt x="18" y="20"/>
                      <a:pt x="12" y="20"/>
                    </a:cubicBezTo>
                    <a:cubicBezTo>
                      <a:pt x="6" y="21"/>
                      <a:pt x="1" y="17"/>
                      <a:pt x="1" y="12"/>
                    </a:cubicBezTo>
                    <a:cubicBezTo>
                      <a:pt x="0" y="6"/>
                      <a:pt x="4" y="1"/>
                      <a:pt x="9" y="0"/>
                    </a:cubicBezTo>
                    <a:cubicBezTo>
                      <a:pt x="15" y="0"/>
                      <a:pt x="20" y="4"/>
                      <a:pt x="2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89" name="Freeform 115">
                <a:extLst>
                  <a:ext uri="{FF2B5EF4-FFF2-40B4-BE49-F238E27FC236}">
                    <a16:creationId xmlns:a16="http://schemas.microsoft.com/office/drawing/2014/main" id="{D7AC00BA-737E-40CF-86E7-94AC996A1B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22351" y="2547939"/>
                <a:ext cx="20638" cy="20638"/>
              </a:xfrm>
              <a:custGeom>
                <a:avLst/>
                <a:gdLst>
                  <a:gd name="T0" fmla="*/ 21 w 23"/>
                  <a:gd name="T1" fmla="*/ 9 h 23"/>
                  <a:gd name="T2" fmla="*/ 14 w 23"/>
                  <a:gd name="T3" fmla="*/ 21 h 23"/>
                  <a:gd name="T4" fmla="*/ 1 w 23"/>
                  <a:gd name="T5" fmla="*/ 14 h 23"/>
                  <a:gd name="T6" fmla="*/ 9 w 23"/>
                  <a:gd name="T7" fmla="*/ 2 h 23"/>
                  <a:gd name="T8" fmla="*/ 21 w 23"/>
                  <a:gd name="T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1" y="9"/>
                    </a:moveTo>
                    <a:cubicBezTo>
                      <a:pt x="23" y="14"/>
                      <a:pt x="19" y="20"/>
                      <a:pt x="14" y="21"/>
                    </a:cubicBezTo>
                    <a:cubicBezTo>
                      <a:pt x="8" y="23"/>
                      <a:pt x="3" y="19"/>
                      <a:pt x="1" y="14"/>
                    </a:cubicBezTo>
                    <a:cubicBezTo>
                      <a:pt x="0" y="9"/>
                      <a:pt x="3" y="3"/>
                      <a:pt x="9" y="2"/>
                    </a:cubicBezTo>
                    <a:cubicBezTo>
                      <a:pt x="14" y="0"/>
                      <a:pt x="20" y="3"/>
                      <a:pt x="2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90" name="Freeform 116">
                <a:extLst>
                  <a:ext uri="{FF2B5EF4-FFF2-40B4-BE49-F238E27FC236}">
                    <a16:creationId xmlns:a16="http://schemas.microsoft.com/office/drawing/2014/main" id="{088DF4A6-52FC-489F-A219-964E8B75BB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4251" y="2560639"/>
                <a:ext cx="19050" cy="20638"/>
              </a:xfrm>
              <a:custGeom>
                <a:avLst/>
                <a:gdLst>
                  <a:gd name="T0" fmla="*/ 21 w 23"/>
                  <a:gd name="T1" fmla="*/ 7 h 23"/>
                  <a:gd name="T2" fmla="*/ 15 w 23"/>
                  <a:gd name="T3" fmla="*/ 21 h 23"/>
                  <a:gd name="T4" fmla="*/ 2 w 23"/>
                  <a:gd name="T5" fmla="*/ 15 h 23"/>
                  <a:gd name="T6" fmla="*/ 8 w 23"/>
                  <a:gd name="T7" fmla="*/ 2 h 23"/>
                  <a:gd name="T8" fmla="*/ 21 w 23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1" y="7"/>
                    </a:moveTo>
                    <a:cubicBezTo>
                      <a:pt x="23" y="13"/>
                      <a:pt x="21" y="19"/>
                      <a:pt x="15" y="21"/>
                    </a:cubicBezTo>
                    <a:cubicBezTo>
                      <a:pt x="10" y="23"/>
                      <a:pt x="4" y="20"/>
                      <a:pt x="2" y="15"/>
                    </a:cubicBezTo>
                    <a:cubicBezTo>
                      <a:pt x="0" y="10"/>
                      <a:pt x="2" y="4"/>
                      <a:pt x="8" y="2"/>
                    </a:cubicBezTo>
                    <a:cubicBezTo>
                      <a:pt x="13" y="0"/>
                      <a:pt x="19" y="2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91" name="Freeform 117">
                <a:extLst>
                  <a:ext uri="{FF2B5EF4-FFF2-40B4-BE49-F238E27FC236}">
                    <a16:creationId xmlns:a16="http://schemas.microsoft.com/office/drawing/2014/main" id="{F2C64C73-33F2-4B10-978C-ED1ADD8182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6151" y="2578101"/>
                <a:ext cx="22225" cy="20638"/>
              </a:xfrm>
              <a:custGeom>
                <a:avLst/>
                <a:gdLst>
                  <a:gd name="T0" fmla="*/ 21 w 24"/>
                  <a:gd name="T1" fmla="*/ 7 h 23"/>
                  <a:gd name="T2" fmla="*/ 17 w 24"/>
                  <a:gd name="T3" fmla="*/ 21 h 23"/>
                  <a:gd name="T4" fmla="*/ 3 w 24"/>
                  <a:gd name="T5" fmla="*/ 17 h 23"/>
                  <a:gd name="T6" fmla="*/ 7 w 24"/>
                  <a:gd name="T7" fmla="*/ 3 h 23"/>
                  <a:gd name="T8" fmla="*/ 21 w 24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3">
                    <a:moveTo>
                      <a:pt x="21" y="7"/>
                    </a:moveTo>
                    <a:cubicBezTo>
                      <a:pt x="24" y="12"/>
                      <a:pt x="22" y="18"/>
                      <a:pt x="17" y="21"/>
                    </a:cubicBezTo>
                    <a:cubicBezTo>
                      <a:pt x="12" y="23"/>
                      <a:pt x="6" y="22"/>
                      <a:pt x="3" y="17"/>
                    </a:cubicBezTo>
                    <a:cubicBezTo>
                      <a:pt x="0" y="12"/>
                      <a:pt x="2" y="6"/>
                      <a:pt x="7" y="3"/>
                    </a:cubicBezTo>
                    <a:cubicBezTo>
                      <a:pt x="12" y="0"/>
                      <a:pt x="18" y="2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92" name="Freeform 118">
                <a:extLst>
                  <a:ext uri="{FF2B5EF4-FFF2-40B4-BE49-F238E27FC236}">
                    <a16:creationId xmlns:a16="http://schemas.microsoft.com/office/drawing/2014/main" id="{60D02115-F88F-47E2-A2A4-443A6A4458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2813" y="2601914"/>
                <a:ext cx="20638" cy="19050"/>
              </a:xfrm>
              <a:custGeom>
                <a:avLst/>
                <a:gdLst>
                  <a:gd name="T0" fmla="*/ 20 w 23"/>
                  <a:gd name="T1" fmla="*/ 5 h 23"/>
                  <a:gd name="T2" fmla="*/ 18 w 23"/>
                  <a:gd name="T3" fmla="*/ 20 h 23"/>
                  <a:gd name="T4" fmla="*/ 3 w 23"/>
                  <a:gd name="T5" fmla="*/ 18 h 23"/>
                  <a:gd name="T6" fmla="*/ 5 w 23"/>
                  <a:gd name="T7" fmla="*/ 3 h 23"/>
                  <a:gd name="T8" fmla="*/ 20 w 23"/>
                  <a:gd name="T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0" y="5"/>
                    </a:moveTo>
                    <a:cubicBezTo>
                      <a:pt x="23" y="10"/>
                      <a:pt x="22" y="16"/>
                      <a:pt x="18" y="20"/>
                    </a:cubicBezTo>
                    <a:cubicBezTo>
                      <a:pt x="13" y="23"/>
                      <a:pt x="7" y="22"/>
                      <a:pt x="3" y="18"/>
                    </a:cubicBezTo>
                    <a:cubicBezTo>
                      <a:pt x="0" y="13"/>
                      <a:pt x="1" y="7"/>
                      <a:pt x="5" y="3"/>
                    </a:cubicBezTo>
                    <a:cubicBezTo>
                      <a:pt x="10" y="0"/>
                      <a:pt x="16" y="1"/>
                      <a:pt x="2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93" name="Freeform 119">
                <a:extLst>
                  <a:ext uri="{FF2B5EF4-FFF2-40B4-BE49-F238E27FC236}">
                    <a16:creationId xmlns:a16="http://schemas.microsoft.com/office/drawing/2014/main" id="{2B07CE78-DA81-4CF8-8318-9A489C52B7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4238" y="2628901"/>
                <a:ext cx="19050" cy="19050"/>
              </a:xfrm>
              <a:custGeom>
                <a:avLst/>
                <a:gdLst>
                  <a:gd name="T0" fmla="*/ 18 w 22"/>
                  <a:gd name="T1" fmla="*/ 4 h 22"/>
                  <a:gd name="T2" fmla="*/ 18 w 22"/>
                  <a:gd name="T3" fmla="*/ 18 h 22"/>
                  <a:gd name="T4" fmla="*/ 4 w 22"/>
                  <a:gd name="T5" fmla="*/ 18 h 22"/>
                  <a:gd name="T6" fmla="*/ 4 w 22"/>
                  <a:gd name="T7" fmla="*/ 4 h 22"/>
                  <a:gd name="T8" fmla="*/ 18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8" y="4"/>
                    </a:moveTo>
                    <a:cubicBezTo>
                      <a:pt x="22" y="8"/>
                      <a:pt x="22" y="14"/>
                      <a:pt x="18" y="18"/>
                    </a:cubicBezTo>
                    <a:cubicBezTo>
                      <a:pt x="14" y="22"/>
                      <a:pt x="8" y="22"/>
                      <a:pt x="4" y="18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4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94" name="Freeform 120">
                <a:extLst>
                  <a:ext uri="{FF2B5EF4-FFF2-40B4-BE49-F238E27FC236}">
                    <a16:creationId xmlns:a16="http://schemas.microsoft.com/office/drawing/2014/main" id="{914EDF3B-B971-4958-8818-EC657B9496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251" y="2659064"/>
                <a:ext cx="19050" cy="19050"/>
              </a:xfrm>
              <a:custGeom>
                <a:avLst/>
                <a:gdLst>
                  <a:gd name="T0" fmla="*/ 18 w 23"/>
                  <a:gd name="T1" fmla="*/ 4 h 23"/>
                  <a:gd name="T2" fmla="*/ 19 w 23"/>
                  <a:gd name="T3" fmla="*/ 18 h 23"/>
                  <a:gd name="T4" fmla="*/ 5 w 23"/>
                  <a:gd name="T5" fmla="*/ 20 h 23"/>
                  <a:gd name="T6" fmla="*/ 3 w 23"/>
                  <a:gd name="T7" fmla="*/ 5 h 23"/>
                  <a:gd name="T8" fmla="*/ 18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8" y="4"/>
                    </a:moveTo>
                    <a:cubicBezTo>
                      <a:pt x="22" y="7"/>
                      <a:pt x="23" y="13"/>
                      <a:pt x="19" y="18"/>
                    </a:cubicBezTo>
                    <a:cubicBezTo>
                      <a:pt x="16" y="22"/>
                      <a:pt x="10" y="23"/>
                      <a:pt x="5" y="20"/>
                    </a:cubicBezTo>
                    <a:cubicBezTo>
                      <a:pt x="1" y="16"/>
                      <a:pt x="0" y="10"/>
                      <a:pt x="3" y="5"/>
                    </a:cubicBezTo>
                    <a:cubicBezTo>
                      <a:pt x="7" y="1"/>
                      <a:pt x="13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95" name="Freeform 121">
                <a:extLst>
                  <a:ext uri="{FF2B5EF4-FFF2-40B4-BE49-F238E27FC236}">
                    <a16:creationId xmlns:a16="http://schemas.microsoft.com/office/drawing/2014/main" id="{8D801301-BC39-4409-AF3D-41BD2B294D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4238" y="2628901"/>
                <a:ext cx="19050" cy="19050"/>
              </a:xfrm>
              <a:custGeom>
                <a:avLst/>
                <a:gdLst>
                  <a:gd name="T0" fmla="*/ 18 w 22"/>
                  <a:gd name="T1" fmla="*/ 4 h 22"/>
                  <a:gd name="T2" fmla="*/ 18 w 22"/>
                  <a:gd name="T3" fmla="*/ 18 h 22"/>
                  <a:gd name="T4" fmla="*/ 4 w 22"/>
                  <a:gd name="T5" fmla="*/ 18 h 22"/>
                  <a:gd name="T6" fmla="*/ 4 w 22"/>
                  <a:gd name="T7" fmla="*/ 4 h 22"/>
                  <a:gd name="T8" fmla="*/ 18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8" y="4"/>
                    </a:moveTo>
                    <a:cubicBezTo>
                      <a:pt x="22" y="8"/>
                      <a:pt x="22" y="14"/>
                      <a:pt x="18" y="18"/>
                    </a:cubicBezTo>
                    <a:cubicBezTo>
                      <a:pt x="14" y="22"/>
                      <a:pt x="8" y="22"/>
                      <a:pt x="4" y="18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4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96" name="Freeform 122">
                <a:extLst>
                  <a:ext uri="{FF2B5EF4-FFF2-40B4-BE49-F238E27FC236}">
                    <a16:creationId xmlns:a16="http://schemas.microsoft.com/office/drawing/2014/main" id="{CDFDEE64-F6E7-4F40-ABAA-B54B1C38F8D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251" y="2659064"/>
                <a:ext cx="19050" cy="19050"/>
              </a:xfrm>
              <a:custGeom>
                <a:avLst/>
                <a:gdLst>
                  <a:gd name="T0" fmla="*/ 18 w 23"/>
                  <a:gd name="T1" fmla="*/ 4 h 23"/>
                  <a:gd name="T2" fmla="*/ 19 w 23"/>
                  <a:gd name="T3" fmla="*/ 18 h 23"/>
                  <a:gd name="T4" fmla="*/ 5 w 23"/>
                  <a:gd name="T5" fmla="*/ 20 h 23"/>
                  <a:gd name="T6" fmla="*/ 3 w 23"/>
                  <a:gd name="T7" fmla="*/ 5 h 23"/>
                  <a:gd name="T8" fmla="*/ 18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8" y="4"/>
                    </a:moveTo>
                    <a:cubicBezTo>
                      <a:pt x="22" y="7"/>
                      <a:pt x="23" y="13"/>
                      <a:pt x="19" y="18"/>
                    </a:cubicBezTo>
                    <a:cubicBezTo>
                      <a:pt x="16" y="22"/>
                      <a:pt x="10" y="23"/>
                      <a:pt x="5" y="20"/>
                    </a:cubicBezTo>
                    <a:cubicBezTo>
                      <a:pt x="1" y="16"/>
                      <a:pt x="0" y="10"/>
                      <a:pt x="3" y="5"/>
                    </a:cubicBezTo>
                    <a:cubicBezTo>
                      <a:pt x="7" y="1"/>
                      <a:pt x="13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97" name="Freeform 123">
                <a:extLst>
                  <a:ext uri="{FF2B5EF4-FFF2-40B4-BE49-F238E27FC236}">
                    <a16:creationId xmlns:a16="http://schemas.microsoft.com/office/drawing/2014/main" id="{51F9ED57-6FD5-4A7C-894E-3810C7F833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43001" y="2541589"/>
                <a:ext cx="19050" cy="17463"/>
              </a:xfrm>
              <a:custGeom>
                <a:avLst/>
                <a:gdLst>
                  <a:gd name="T0" fmla="*/ 1 w 22"/>
                  <a:gd name="T1" fmla="*/ 9 h 21"/>
                  <a:gd name="T2" fmla="*/ 10 w 22"/>
                  <a:gd name="T3" fmla="*/ 20 h 21"/>
                  <a:gd name="T4" fmla="*/ 21 w 22"/>
                  <a:gd name="T5" fmla="*/ 12 h 21"/>
                  <a:gd name="T6" fmla="*/ 12 w 22"/>
                  <a:gd name="T7" fmla="*/ 0 h 21"/>
                  <a:gd name="T8" fmla="*/ 1 w 22"/>
                  <a:gd name="T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1">
                    <a:moveTo>
                      <a:pt x="1" y="9"/>
                    </a:moveTo>
                    <a:cubicBezTo>
                      <a:pt x="0" y="15"/>
                      <a:pt x="4" y="20"/>
                      <a:pt x="10" y="20"/>
                    </a:cubicBezTo>
                    <a:cubicBezTo>
                      <a:pt x="15" y="21"/>
                      <a:pt x="20" y="17"/>
                      <a:pt x="21" y="12"/>
                    </a:cubicBezTo>
                    <a:cubicBezTo>
                      <a:pt x="22" y="6"/>
                      <a:pt x="18" y="1"/>
                      <a:pt x="12" y="0"/>
                    </a:cubicBezTo>
                    <a:cubicBezTo>
                      <a:pt x="7" y="0"/>
                      <a:pt x="2" y="4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98" name="Freeform 124">
                <a:extLst>
                  <a:ext uri="{FF2B5EF4-FFF2-40B4-BE49-F238E27FC236}">
                    <a16:creationId xmlns:a16="http://schemas.microsoft.com/office/drawing/2014/main" id="{D25C4203-097C-403B-AD6C-FB9C04699E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2688" y="2547939"/>
                <a:ext cx="19050" cy="20638"/>
              </a:xfrm>
              <a:custGeom>
                <a:avLst/>
                <a:gdLst>
                  <a:gd name="T0" fmla="*/ 1 w 23"/>
                  <a:gd name="T1" fmla="*/ 9 h 23"/>
                  <a:gd name="T2" fmla="*/ 9 w 23"/>
                  <a:gd name="T3" fmla="*/ 21 h 23"/>
                  <a:gd name="T4" fmla="*/ 21 w 23"/>
                  <a:gd name="T5" fmla="*/ 14 h 23"/>
                  <a:gd name="T6" fmla="*/ 14 w 23"/>
                  <a:gd name="T7" fmla="*/ 2 h 23"/>
                  <a:gd name="T8" fmla="*/ 1 w 23"/>
                  <a:gd name="T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" y="9"/>
                    </a:moveTo>
                    <a:cubicBezTo>
                      <a:pt x="0" y="14"/>
                      <a:pt x="3" y="20"/>
                      <a:pt x="9" y="21"/>
                    </a:cubicBezTo>
                    <a:cubicBezTo>
                      <a:pt x="14" y="23"/>
                      <a:pt x="20" y="19"/>
                      <a:pt x="21" y="14"/>
                    </a:cubicBezTo>
                    <a:cubicBezTo>
                      <a:pt x="23" y="9"/>
                      <a:pt x="19" y="3"/>
                      <a:pt x="14" y="2"/>
                    </a:cubicBezTo>
                    <a:cubicBezTo>
                      <a:pt x="8" y="0"/>
                      <a:pt x="3" y="3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99" name="Freeform 125">
                <a:extLst>
                  <a:ext uri="{FF2B5EF4-FFF2-40B4-BE49-F238E27FC236}">
                    <a16:creationId xmlns:a16="http://schemas.microsoft.com/office/drawing/2014/main" id="{A547267D-CCF3-439A-B9F6-7F8055AD269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19201" y="2560639"/>
                <a:ext cx="22225" cy="20638"/>
              </a:xfrm>
              <a:custGeom>
                <a:avLst/>
                <a:gdLst>
                  <a:gd name="T0" fmla="*/ 3 w 24"/>
                  <a:gd name="T1" fmla="*/ 7 h 23"/>
                  <a:gd name="T2" fmla="*/ 8 w 24"/>
                  <a:gd name="T3" fmla="*/ 21 h 23"/>
                  <a:gd name="T4" fmla="*/ 21 w 24"/>
                  <a:gd name="T5" fmla="*/ 15 h 23"/>
                  <a:gd name="T6" fmla="*/ 16 w 24"/>
                  <a:gd name="T7" fmla="*/ 2 h 23"/>
                  <a:gd name="T8" fmla="*/ 3 w 24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3">
                    <a:moveTo>
                      <a:pt x="3" y="7"/>
                    </a:moveTo>
                    <a:cubicBezTo>
                      <a:pt x="0" y="13"/>
                      <a:pt x="3" y="19"/>
                      <a:pt x="8" y="21"/>
                    </a:cubicBezTo>
                    <a:cubicBezTo>
                      <a:pt x="13" y="23"/>
                      <a:pt x="19" y="20"/>
                      <a:pt x="21" y="15"/>
                    </a:cubicBezTo>
                    <a:cubicBezTo>
                      <a:pt x="24" y="10"/>
                      <a:pt x="21" y="4"/>
                      <a:pt x="16" y="2"/>
                    </a:cubicBezTo>
                    <a:cubicBezTo>
                      <a:pt x="11" y="0"/>
                      <a:pt x="5" y="2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00" name="Freeform 126">
                <a:extLst>
                  <a:ext uri="{FF2B5EF4-FFF2-40B4-BE49-F238E27FC236}">
                    <a16:creationId xmlns:a16="http://schemas.microsoft.com/office/drawing/2014/main" id="{5CF0DF8A-676F-4674-BD6D-4D6139D945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57301" y="2578101"/>
                <a:ext cx="19050" cy="20638"/>
              </a:xfrm>
              <a:custGeom>
                <a:avLst/>
                <a:gdLst>
                  <a:gd name="T0" fmla="*/ 3 w 23"/>
                  <a:gd name="T1" fmla="*/ 7 h 23"/>
                  <a:gd name="T2" fmla="*/ 6 w 23"/>
                  <a:gd name="T3" fmla="*/ 21 h 23"/>
                  <a:gd name="T4" fmla="*/ 20 w 23"/>
                  <a:gd name="T5" fmla="*/ 17 h 23"/>
                  <a:gd name="T6" fmla="*/ 17 w 23"/>
                  <a:gd name="T7" fmla="*/ 3 h 23"/>
                  <a:gd name="T8" fmla="*/ 3 w 23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3" y="7"/>
                    </a:moveTo>
                    <a:cubicBezTo>
                      <a:pt x="0" y="12"/>
                      <a:pt x="2" y="18"/>
                      <a:pt x="6" y="21"/>
                    </a:cubicBezTo>
                    <a:cubicBezTo>
                      <a:pt x="11" y="23"/>
                      <a:pt x="17" y="22"/>
                      <a:pt x="20" y="17"/>
                    </a:cubicBezTo>
                    <a:cubicBezTo>
                      <a:pt x="23" y="12"/>
                      <a:pt x="21" y="6"/>
                      <a:pt x="17" y="3"/>
                    </a:cubicBezTo>
                    <a:cubicBezTo>
                      <a:pt x="12" y="0"/>
                      <a:pt x="5" y="2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01" name="Freeform 127">
                <a:extLst>
                  <a:ext uri="{FF2B5EF4-FFF2-40B4-BE49-F238E27FC236}">
                    <a16:creationId xmlns:a16="http://schemas.microsoft.com/office/drawing/2014/main" id="{37925BE5-D24C-4B00-9B0E-C67ADAC2A9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90638" y="2601914"/>
                <a:ext cx="19050" cy="19050"/>
              </a:xfrm>
              <a:custGeom>
                <a:avLst/>
                <a:gdLst>
                  <a:gd name="T0" fmla="*/ 4 w 23"/>
                  <a:gd name="T1" fmla="*/ 5 h 23"/>
                  <a:gd name="T2" fmla="*/ 6 w 23"/>
                  <a:gd name="T3" fmla="*/ 20 h 23"/>
                  <a:gd name="T4" fmla="*/ 20 w 23"/>
                  <a:gd name="T5" fmla="*/ 18 h 23"/>
                  <a:gd name="T6" fmla="*/ 18 w 23"/>
                  <a:gd name="T7" fmla="*/ 3 h 23"/>
                  <a:gd name="T8" fmla="*/ 4 w 23"/>
                  <a:gd name="T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4" y="5"/>
                    </a:moveTo>
                    <a:cubicBezTo>
                      <a:pt x="0" y="10"/>
                      <a:pt x="1" y="16"/>
                      <a:pt x="6" y="20"/>
                    </a:cubicBezTo>
                    <a:cubicBezTo>
                      <a:pt x="10" y="23"/>
                      <a:pt x="17" y="22"/>
                      <a:pt x="20" y="18"/>
                    </a:cubicBezTo>
                    <a:cubicBezTo>
                      <a:pt x="23" y="13"/>
                      <a:pt x="23" y="7"/>
                      <a:pt x="18" y="3"/>
                    </a:cubicBezTo>
                    <a:cubicBezTo>
                      <a:pt x="14" y="0"/>
                      <a:pt x="7" y="1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02" name="Freeform 128">
                <a:extLst>
                  <a:ext uri="{FF2B5EF4-FFF2-40B4-BE49-F238E27FC236}">
                    <a16:creationId xmlns:a16="http://schemas.microsoft.com/office/drawing/2014/main" id="{799A7DC5-B5BD-47A5-9E16-A44E713BF0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20801" y="2628901"/>
                <a:ext cx="20638" cy="19050"/>
              </a:xfrm>
              <a:custGeom>
                <a:avLst/>
                <a:gdLst>
                  <a:gd name="T0" fmla="*/ 4 w 22"/>
                  <a:gd name="T1" fmla="*/ 4 h 22"/>
                  <a:gd name="T2" fmla="*/ 4 w 22"/>
                  <a:gd name="T3" fmla="*/ 18 h 22"/>
                  <a:gd name="T4" fmla="*/ 18 w 22"/>
                  <a:gd name="T5" fmla="*/ 18 h 22"/>
                  <a:gd name="T6" fmla="*/ 18 w 22"/>
                  <a:gd name="T7" fmla="*/ 4 h 22"/>
                  <a:gd name="T8" fmla="*/ 4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4" y="4"/>
                    </a:moveTo>
                    <a:cubicBezTo>
                      <a:pt x="0" y="8"/>
                      <a:pt x="0" y="14"/>
                      <a:pt x="4" y="18"/>
                    </a:cubicBezTo>
                    <a:cubicBezTo>
                      <a:pt x="7" y="22"/>
                      <a:pt x="14" y="22"/>
                      <a:pt x="18" y="18"/>
                    </a:cubicBezTo>
                    <a:cubicBezTo>
                      <a:pt x="22" y="14"/>
                      <a:pt x="22" y="8"/>
                      <a:pt x="18" y="4"/>
                    </a:cubicBezTo>
                    <a:cubicBezTo>
                      <a:pt x="14" y="0"/>
                      <a:pt x="7" y="0"/>
                      <a:pt x="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03" name="Freeform 129">
                <a:extLst>
                  <a:ext uri="{FF2B5EF4-FFF2-40B4-BE49-F238E27FC236}">
                    <a16:creationId xmlns:a16="http://schemas.microsoft.com/office/drawing/2014/main" id="{5FD928DF-6DA9-4930-9331-5C4B042D8C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47788" y="2659064"/>
                <a:ext cx="20638" cy="19050"/>
              </a:xfrm>
              <a:custGeom>
                <a:avLst/>
                <a:gdLst>
                  <a:gd name="T0" fmla="*/ 5 w 23"/>
                  <a:gd name="T1" fmla="*/ 4 h 23"/>
                  <a:gd name="T2" fmla="*/ 3 w 23"/>
                  <a:gd name="T3" fmla="*/ 18 h 23"/>
                  <a:gd name="T4" fmla="*/ 17 w 23"/>
                  <a:gd name="T5" fmla="*/ 20 h 23"/>
                  <a:gd name="T6" fmla="*/ 19 w 23"/>
                  <a:gd name="T7" fmla="*/ 5 h 23"/>
                  <a:gd name="T8" fmla="*/ 5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5" y="4"/>
                    </a:moveTo>
                    <a:cubicBezTo>
                      <a:pt x="1" y="7"/>
                      <a:pt x="0" y="13"/>
                      <a:pt x="3" y="18"/>
                    </a:cubicBezTo>
                    <a:cubicBezTo>
                      <a:pt x="7" y="22"/>
                      <a:pt x="13" y="23"/>
                      <a:pt x="17" y="20"/>
                    </a:cubicBezTo>
                    <a:cubicBezTo>
                      <a:pt x="22" y="16"/>
                      <a:pt x="23" y="10"/>
                      <a:pt x="19" y="5"/>
                    </a:cubicBezTo>
                    <a:cubicBezTo>
                      <a:pt x="16" y="1"/>
                      <a:pt x="9" y="0"/>
                      <a:pt x="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</p:grpSp>
      </p:grpSp>
      <p:sp>
        <p:nvSpPr>
          <p:cNvPr id="292" name="Rectangle 29">
            <a:extLst>
              <a:ext uri="{FF2B5EF4-FFF2-40B4-BE49-F238E27FC236}">
                <a16:creationId xmlns:a16="http://schemas.microsoft.com/office/drawing/2014/main" id="{92C6EC3E-EA5F-477D-98D4-4D1FD2015EB6}"/>
              </a:ext>
            </a:extLst>
          </p:cNvPr>
          <p:cNvSpPr txBox="1">
            <a:spLocks/>
          </p:cNvSpPr>
          <p:nvPr/>
        </p:nvSpPr>
        <p:spPr bwMode="gray">
          <a:xfrm>
            <a:off x="7788259" y="3106544"/>
            <a:ext cx="1007689" cy="1626522"/>
          </a:xfrm>
          <a:prstGeom prst="rect">
            <a:avLst/>
          </a:prstGeom>
          <a:solidFill>
            <a:schemeClr val="accent6"/>
          </a:solidFill>
        </p:spPr>
        <p:txBody>
          <a:bodyPr vert="horz" lIns="54847" tIns="41135" rIns="41135" bIns="13712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2pPr>
            <a:lvl3pPr marL="36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3pPr>
            <a:lvl4pPr marL="54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–"/>
              <a:tabLst/>
              <a:def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Delivery" panose="020F0503020204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03">
              <a:spcAft>
                <a:spcPts val="150"/>
              </a:spcAft>
              <a:defRPr/>
            </a:pPr>
            <a:r>
              <a:rPr lang="fr-FR" sz="800" b="1" dirty="0">
                <a:solidFill>
                  <a:srgbClr val="D40511"/>
                </a:solidFill>
                <a:latin typeface="Delivery"/>
              </a:rPr>
              <a:t>Roadmap de développement durable</a:t>
            </a:r>
          </a:p>
          <a:p>
            <a:pPr defTabSz="914103">
              <a:spcAft>
                <a:spcPts val="150"/>
              </a:spcAft>
              <a:defRPr/>
            </a:pPr>
            <a:r>
              <a:rPr lang="fr-FR" sz="800" dirty="0">
                <a:solidFill>
                  <a:prstClr val="black"/>
                </a:solidFill>
                <a:latin typeface="Delivery"/>
              </a:rPr>
              <a:t>Avec sa nouvelle roadmap de développement durable, DHL Group s’engage à </a:t>
            </a:r>
            <a:r>
              <a:rPr lang="fr-FR" sz="800" b="1" dirty="0">
                <a:solidFill>
                  <a:prstClr val="black"/>
                </a:solidFill>
                <a:latin typeface="Delivery"/>
              </a:rPr>
              <a:t>investir €7 milliards dans des technologies vertes d’ici 2030.</a:t>
            </a:r>
          </a:p>
          <a:p>
            <a:pPr defTabSz="914103">
              <a:spcAft>
                <a:spcPts val="150"/>
              </a:spcAft>
              <a:defRPr/>
            </a:pPr>
            <a:endParaRPr lang="fr-FR" sz="800" i="1" dirty="0">
              <a:solidFill>
                <a:srgbClr val="D40511"/>
              </a:solidFill>
              <a:latin typeface="Delivery"/>
            </a:endParaRPr>
          </a:p>
        </p:txBody>
      </p:sp>
      <p:grpSp>
        <p:nvGrpSpPr>
          <p:cNvPr id="255" name="Gruppieren 254"/>
          <p:cNvGrpSpPr/>
          <p:nvPr/>
        </p:nvGrpSpPr>
        <p:grpSpPr>
          <a:xfrm>
            <a:off x="7909486" y="1441415"/>
            <a:ext cx="706532" cy="1707009"/>
            <a:chOff x="6699501" y="1347128"/>
            <a:chExt cx="706750" cy="1707536"/>
          </a:xfrm>
        </p:grpSpPr>
        <p:sp>
          <p:nvSpPr>
            <p:cNvPr id="256" name="Oval 159">
              <a:extLst>
                <a:ext uri="{FF2B5EF4-FFF2-40B4-BE49-F238E27FC236}">
                  <a16:creationId xmlns:a16="http://schemas.microsoft.com/office/drawing/2014/main" id="{B7A441D7-9CA1-4083-9D0C-374C7863D746}"/>
                </a:ext>
              </a:extLst>
            </p:cNvPr>
            <p:cNvSpPr/>
            <p:nvPr/>
          </p:nvSpPr>
          <p:spPr bwMode="gray">
            <a:xfrm>
              <a:off x="6990458" y="1347128"/>
              <a:ext cx="124831" cy="124831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577">
                <a:defRPr/>
              </a:pPr>
              <a:endParaRPr lang="fr-FR" sz="800" kern="0">
                <a:solidFill>
                  <a:prstClr val="white"/>
                </a:solidFill>
                <a:latin typeface="Delivery"/>
              </a:endParaRPr>
            </a:p>
          </p:txBody>
        </p:sp>
        <p:cxnSp>
          <p:nvCxnSpPr>
            <p:cNvPr id="257" name="Straight Connector 160">
              <a:extLst>
                <a:ext uri="{FF2B5EF4-FFF2-40B4-BE49-F238E27FC236}">
                  <a16:creationId xmlns:a16="http://schemas.microsoft.com/office/drawing/2014/main" id="{147B9E90-0A2D-4874-BC0F-8BB73616C60B}"/>
                </a:ext>
              </a:extLst>
            </p:cNvPr>
            <p:cNvCxnSpPr/>
            <p:nvPr/>
          </p:nvCxnSpPr>
          <p:spPr bwMode="gray">
            <a:xfrm>
              <a:off x="7052876" y="1471958"/>
              <a:ext cx="0" cy="413772"/>
            </a:xfrm>
            <a:prstGeom prst="line">
              <a:avLst/>
            </a:prstGeom>
            <a:noFill/>
            <a:ln w="12700" cap="flat" cmpd="sng" algn="ctr">
              <a:solidFill>
                <a:schemeClr val="tx2"/>
              </a:solidFill>
              <a:prstDash val="solid"/>
              <a:headEnd type="none" w="sm" len="sm"/>
              <a:tailEnd type="none" w="sm" len="sm"/>
            </a:ln>
            <a:effectLst/>
          </p:spPr>
        </p:cxnSp>
        <p:sp>
          <p:nvSpPr>
            <p:cNvPr id="258" name="Oval 161">
              <a:extLst>
                <a:ext uri="{FF2B5EF4-FFF2-40B4-BE49-F238E27FC236}">
                  <a16:creationId xmlns:a16="http://schemas.microsoft.com/office/drawing/2014/main" id="{B671FBC7-27CE-4342-8AA9-8E16775C765E}"/>
                </a:ext>
              </a:extLst>
            </p:cNvPr>
            <p:cNvSpPr/>
            <p:nvPr/>
          </p:nvSpPr>
          <p:spPr bwMode="gray">
            <a:xfrm>
              <a:off x="6722438" y="1863700"/>
              <a:ext cx="660876" cy="660875"/>
            </a:xfrm>
            <a:prstGeom prst="ellipse">
              <a:avLst/>
            </a:prstGeom>
            <a:solidFill>
              <a:schemeClr val="bg1"/>
            </a:solidFill>
            <a:ln w="508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577">
                <a:defRPr/>
              </a:pPr>
              <a:endParaRPr lang="fr-FR" sz="800" kern="0">
                <a:solidFill>
                  <a:prstClr val="white"/>
                </a:solidFill>
                <a:latin typeface="Delivery"/>
              </a:endParaRPr>
            </a:p>
          </p:txBody>
        </p:sp>
        <p:grpSp>
          <p:nvGrpSpPr>
            <p:cNvPr id="259" name="Group 162">
              <a:extLst>
                <a:ext uri="{FF2B5EF4-FFF2-40B4-BE49-F238E27FC236}">
                  <a16:creationId xmlns:a16="http://schemas.microsoft.com/office/drawing/2014/main" id="{7C5ACD20-1C89-466B-A457-6C2273E77520}"/>
                </a:ext>
              </a:extLst>
            </p:cNvPr>
            <p:cNvGrpSpPr/>
            <p:nvPr/>
          </p:nvGrpSpPr>
          <p:grpSpPr bwMode="gray">
            <a:xfrm flipV="1">
              <a:off x="6699501" y="2420345"/>
              <a:ext cx="706750" cy="634319"/>
              <a:chOff x="857251" y="2219326"/>
              <a:chExt cx="511175" cy="458788"/>
            </a:xfrm>
            <a:solidFill>
              <a:schemeClr val="accent2"/>
            </a:solidFill>
          </p:grpSpPr>
          <p:sp>
            <p:nvSpPr>
              <p:cNvPr id="261" name="Oval 106">
                <a:extLst>
                  <a:ext uri="{FF2B5EF4-FFF2-40B4-BE49-F238E27FC236}">
                    <a16:creationId xmlns:a16="http://schemas.microsoft.com/office/drawing/2014/main" id="{11271796-26D8-4C83-9A53-09668794CC1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087438" y="2219326"/>
                <a:ext cx="50800" cy="508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62" name="Oval 107">
                <a:extLst>
                  <a:ext uri="{FF2B5EF4-FFF2-40B4-BE49-F238E27FC236}">
                    <a16:creationId xmlns:a16="http://schemas.microsoft.com/office/drawing/2014/main" id="{054BD17A-BF85-484B-9E34-0FED4970CBF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538414"/>
                <a:ext cx="17463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63" name="Oval 108">
                <a:extLst>
                  <a:ext uri="{FF2B5EF4-FFF2-40B4-BE49-F238E27FC236}">
                    <a16:creationId xmlns:a16="http://schemas.microsoft.com/office/drawing/2014/main" id="{1932C407-73C6-4CEB-AED3-06DDCD288F9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98726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64" name="Oval 109">
                <a:extLst>
                  <a:ext uri="{FF2B5EF4-FFF2-40B4-BE49-F238E27FC236}">
                    <a16:creationId xmlns:a16="http://schemas.microsoft.com/office/drawing/2014/main" id="{60D59099-7642-408E-B4A4-5C17A4C55C9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57451"/>
                <a:ext cx="17463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65" name="Oval 110">
                <a:extLst>
                  <a:ext uri="{FF2B5EF4-FFF2-40B4-BE49-F238E27FC236}">
                    <a16:creationId xmlns:a16="http://schemas.microsoft.com/office/drawing/2014/main" id="{D41EDCC0-77BA-46B1-B489-5C4943DA4C5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333626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66" name="Oval 111">
                <a:extLst>
                  <a:ext uri="{FF2B5EF4-FFF2-40B4-BE49-F238E27FC236}">
                    <a16:creationId xmlns:a16="http://schemas.microsoft.com/office/drawing/2014/main" id="{4F5EDE6C-CBE1-4A32-85A0-19F79D81774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293939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67" name="Oval 112">
                <a:extLst>
                  <a:ext uri="{FF2B5EF4-FFF2-40B4-BE49-F238E27FC236}">
                    <a16:creationId xmlns:a16="http://schemas.microsoft.com/office/drawing/2014/main" id="{D9F95C15-97C5-4E45-B919-CBD18E162CD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14589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68" name="Oval 113">
                <a:extLst>
                  <a:ext uri="{FF2B5EF4-FFF2-40B4-BE49-F238E27FC236}">
                    <a16:creationId xmlns:a16="http://schemas.microsoft.com/office/drawing/2014/main" id="{DD40124E-479C-4A67-A4D4-F91E397C2A4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373314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69" name="Freeform 114">
                <a:extLst>
                  <a:ext uri="{FF2B5EF4-FFF2-40B4-BE49-F238E27FC236}">
                    <a16:creationId xmlns:a16="http://schemas.microsoft.com/office/drawing/2014/main" id="{46E7D038-E503-4F48-BAF2-024C47C496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038" y="2541589"/>
                <a:ext cx="19050" cy="17463"/>
              </a:xfrm>
              <a:custGeom>
                <a:avLst/>
                <a:gdLst>
                  <a:gd name="T0" fmla="*/ 21 w 21"/>
                  <a:gd name="T1" fmla="*/ 9 h 21"/>
                  <a:gd name="T2" fmla="*/ 12 w 21"/>
                  <a:gd name="T3" fmla="*/ 20 h 21"/>
                  <a:gd name="T4" fmla="*/ 1 w 21"/>
                  <a:gd name="T5" fmla="*/ 12 h 21"/>
                  <a:gd name="T6" fmla="*/ 9 w 21"/>
                  <a:gd name="T7" fmla="*/ 0 h 21"/>
                  <a:gd name="T8" fmla="*/ 21 w 21"/>
                  <a:gd name="T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1">
                    <a:moveTo>
                      <a:pt x="21" y="9"/>
                    </a:moveTo>
                    <a:cubicBezTo>
                      <a:pt x="21" y="15"/>
                      <a:pt x="18" y="20"/>
                      <a:pt x="12" y="20"/>
                    </a:cubicBezTo>
                    <a:cubicBezTo>
                      <a:pt x="6" y="21"/>
                      <a:pt x="1" y="17"/>
                      <a:pt x="1" y="12"/>
                    </a:cubicBezTo>
                    <a:cubicBezTo>
                      <a:pt x="0" y="6"/>
                      <a:pt x="4" y="1"/>
                      <a:pt x="9" y="0"/>
                    </a:cubicBezTo>
                    <a:cubicBezTo>
                      <a:pt x="15" y="0"/>
                      <a:pt x="20" y="4"/>
                      <a:pt x="2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70" name="Freeform 115">
                <a:extLst>
                  <a:ext uri="{FF2B5EF4-FFF2-40B4-BE49-F238E27FC236}">
                    <a16:creationId xmlns:a16="http://schemas.microsoft.com/office/drawing/2014/main" id="{D7AC00BA-737E-40CF-86E7-94AC996A1B3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22351" y="2547939"/>
                <a:ext cx="20638" cy="20638"/>
              </a:xfrm>
              <a:custGeom>
                <a:avLst/>
                <a:gdLst>
                  <a:gd name="T0" fmla="*/ 21 w 23"/>
                  <a:gd name="T1" fmla="*/ 9 h 23"/>
                  <a:gd name="T2" fmla="*/ 14 w 23"/>
                  <a:gd name="T3" fmla="*/ 21 h 23"/>
                  <a:gd name="T4" fmla="*/ 1 w 23"/>
                  <a:gd name="T5" fmla="*/ 14 h 23"/>
                  <a:gd name="T6" fmla="*/ 9 w 23"/>
                  <a:gd name="T7" fmla="*/ 2 h 23"/>
                  <a:gd name="T8" fmla="*/ 21 w 23"/>
                  <a:gd name="T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1" y="9"/>
                    </a:moveTo>
                    <a:cubicBezTo>
                      <a:pt x="23" y="14"/>
                      <a:pt x="19" y="20"/>
                      <a:pt x="14" y="21"/>
                    </a:cubicBezTo>
                    <a:cubicBezTo>
                      <a:pt x="8" y="23"/>
                      <a:pt x="3" y="19"/>
                      <a:pt x="1" y="14"/>
                    </a:cubicBezTo>
                    <a:cubicBezTo>
                      <a:pt x="0" y="9"/>
                      <a:pt x="3" y="3"/>
                      <a:pt x="9" y="2"/>
                    </a:cubicBezTo>
                    <a:cubicBezTo>
                      <a:pt x="14" y="0"/>
                      <a:pt x="20" y="3"/>
                      <a:pt x="2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71" name="Freeform 116">
                <a:extLst>
                  <a:ext uri="{FF2B5EF4-FFF2-40B4-BE49-F238E27FC236}">
                    <a16:creationId xmlns:a16="http://schemas.microsoft.com/office/drawing/2014/main" id="{088DF4A6-52FC-489F-A219-964E8B75BB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4251" y="2560639"/>
                <a:ext cx="19050" cy="20638"/>
              </a:xfrm>
              <a:custGeom>
                <a:avLst/>
                <a:gdLst>
                  <a:gd name="T0" fmla="*/ 21 w 23"/>
                  <a:gd name="T1" fmla="*/ 7 h 23"/>
                  <a:gd name="T2" fmla="*/ 15 w 23"/>
                  <a:gd name="T3" fmla="*/ 21 h 23"/>
                  <a:gd name="T4" fmla="*/ 2 w 23"/>
                  <a:gd name="T5" fmla="*/ 15 h 23"/>
                  <a:gd name="T6" fmla="*/ 8 w 23"/>
                  <a:gd name="T7" fmla="*/ 2 h 23"/>
                  <a:gd name="T8" fmla="*/ 21 w 23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1" y="7"/>
                    </a:moveTo>
                    <a:cubicBezTo>
                      <a:pt x="23" y="13"/>
                      <a:pt x="21" y="19"/>
                      <a:pt x="15" y="21"/>
                    </a:cubicBezTo>
                    <a:cubicBezTo>
                      <a:pt x="10" y="23"/>
                      <a:pt x="4" y="20"/>
                      <a:pt x="2" y="15"/>
                    </a:cubicBezTo>
                    <a:cubicBezTo>
                      <a:pt x="0" y="10"/>
                      <a:pt x="2" y="4"/>
                      <a:pt x="8" y="2"/>
                    </a:cubicBezTo>
                    <a:cubicBezTo>
                      <a:pt x="13" y="0"/>
                      <a:pt x="19" y="2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72" name="Freeform 117">
                <a:extLst>
                  <a:ext uri="{FF2B5EF4-FFF2-40B4-BE49-F238E27FC236}">
                    <a16:creationId xmlns:a16="http://schemas.microsoft.com/office/drawing/2014/main" id="{F2C64C73-33F2-4B10-978C-ED1ADD8182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6151" y="2578101"/>
                <a:ext cx="22225" cy="20638"/>
              </a:xfrm>
              <a:custGeom>
                <a:avLst/>
                <a:gdLst>
                  <a:gd name="T0" fmla="*/ 21 w 24"/>
                  <a:gd name="T1" fmla="*/ 7 h 23"/>
                  <a:gd name="T2" fmla="*/ 17 w 24"/>
                  <a:gd name="T3" fmla="*/ 21 h 23"/>
                  <a:gd name="T4" fmla="*/ 3 w 24"/>
                  <a:gd name="T5" fmla="*/ 17 h 23"/>
                  <a:gd name="T6" fmla="*/ 7 w 24"/>
                  <a:gd name="T7" fmla="*/ 3 h 23"/>
                  <a:gd name="T8" fmla="*/ 21 w 24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3">
                    <a:moveTo>
                      <a:pt x="21" y="7"/>
                    </a:moveTo>
                    <a:cubicBezTo>
                      <a:pt x="24" y="12"/>
                      <a:pt x="22" y="18"/>
                      <a:pt x="17" y="21"/>
                    </a:cubicBezTo>
                    <a:cubicBezTo>
                      <a:pt x="12" y="23"/>
                      <a:pt x="6" y="22"/>
                      <a:pt x="3" y="17"/>
                    </a:cubicBezTo>
                    <a:cubicBezTo>
                      <a:pt x="0" y="12"/>
                      <a:pt x="2" y="6"/>
                      <a:pt x="7" y="3"/>
                    </a:cubicBezTo>
                    <a:cubicBezTo>
                      <a:pt x="12" y="0"/>
                      <a:pt x="18" y="2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73" name="Freeform 118">
                <a:extLst>
                  <a:ext uri="{FF2B5EF4-FFF2-40B4-BE49-F238E27FC236}">
                    <a16:creationId xmlns:a16="http://schemas.microsoft.com/office/drawing/2014/main" id="{60D02115-F88F-47E2-A2A4-443A6A4458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2813" y="2601914"/>
                <a:ext cx="20638" cy="19050"/>
              </a:xfrm>
              <a:custGeom>
                <a:avLst/>
                <a:gdLst>
                  <a:gd name="T0" fmla="*/ 20 w 23"/>
                  <a:gd name="T1" fmla="*/ 5 h 23"/>
                  <a:gd name="T2" fmla="*/ 18 w 23"/>
                  <a:gd name="T3" fmla="*/ 20 h 23"/>
                  <a:gd name="T4" fmla="*/ 3 w 23"/>
                  <a:gd name="T5" fmla="*/ 18 h 23"/>
                  <a:gd name="T6" fmla="*/ 5 w 23"/>
                  <a:gd name="T7" fmla="*/ 3 h 23"/>
                  <a:gd name="T8" fmla="*/ 20 w 23"/>
                  <a:gd name="T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0" y="5"/>
                    </a:moveTo>
                    <a:cubicBezTo>
                      <a:pt x="23" y="10"/>
                      <a:pt x="22" y="16"/>
                      <a:pt x="18" y="20"/>
                    </a:cubicBezTo>
                    <a:cubicBezTo>
                      <a:pt x="13" y="23"/>
                      <a:pt x="7" y="22"/>
                      <a:pt x="3" y="18"/>
                    </a:cubicBezTo>
                    <a:cubicBezTo>
                      <a:pt x="0" y="13"/>
                      <a:pt x="1" y="7"/>
                      <a:pt x="5" y="3"/>
                    </a:cubicBezTo>
                    <a:cubicBezTo>
                      <a:pt x="10" y="0"/>
                      <a:pt x="16" y="1"/>
                      <a:pt x="2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74" name="Freeform 119">
                <a:extLst>
                  <a:ext uri="{FF2B5EF4-FFF2-40B4-BE49-F238E27FC236}">
                    <a16:creationId xmlns:a16="http://schemas.microsoft.com/office/drawing/2014/main" id="{2B07CE78-DA81-4CF8-8318-9A489C52B7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4238" y="2628901"/>
                <a:ext cx="19050" cy="19050"/>
              </a:xfrm>
              <a:custGeom>
                <a:avLst/>
                <a:gdLst>
                  <a:gd name="T0" fmla="*/ 18 w 22"/>
                  <a:gd name="T1" fmla="*/ 4 h 22"/>
                  <a:gd name="T2" fmla="*/ 18 w 22"/>
                  <a:gd name="T3" fmla="*/ 18 h 22"/>
                  <a:gd name="T4" fmla="*/ 4 w 22"/>
                  <a:gd name="T5" fmla="*/ 18 h 22"/>
                  <a:gd name="T6" fmla="*/ 4 w 22"/>
                  <a:gd name="T7" fmla="*/ 4 h 22"/>
                  <a:gd name="T8" fmla="*/ 18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8" y="4"/>
                    </a:moveTo>
                    <a:cubicBezTo>
                      <a:pt x="22" y="8"/>
                      <a:pt x="22" y="14"/>
                      <a:pt x="18" y="18"/>
                    </a:cubicBezTo>
                    <a:cubicBezTo>
                      <a:pt x="14" y="22"/>
                      <a:pt x="8" y="22"/>
                      <a:pt x="4" y="18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4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75" name="Freeform 120">
                <a:extLst>
                  <a:ext uri="{FF2B5EF4-FFF2-40B4-BE49-F238E27FC236}">
                    <a16:creationId xmlns:a16="http://schemas.microsoft.com/office/drawing/2014/main" id="{914EDF3B-B971-4958-8818-EC657B9496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251" y="2659064"/>
                <a:ext cx="19050" cy="19050"/>
              </a:xfrm>
              <a:custGeom>
                <a:avLst/>
                <a:gdLst>
                  <a:gd name="T0" fmla="*/ 18 w 23"/>
                  <a:gd name="T1" fmla="*/ 4 h 23"/>
                  <a:gd name="T2" fmla="*/ 19 w 23"/>
                  <a:gd name="T3" fmla="*/ 18 h 23"/>
                  <a:gd name="T4" fmla="*/ 5 w 23"/>
                  <a:gd name="T5" fmla="*/ 20 h 23"/>
                  <a:gd name="T6" fmla="*/ 3 w 23"/>
                  <a:gd name="T7" fmla="*/ 5 h 23"/>
                  <a:gd name="T8" fmla="*/ 18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8" y="4"/>
                    </a:moveTo>
                    <a:cubicBezTo>
                      <a:pt x="22" y="7"/>
                      <a:pt x="23" y="13"/>
                      <a:pt x="19" y="18"/>
                    </a:cubicBezTo>
                    <a:cubicBezTo>
                      <a:pt x="16" y="22"/>
                      <a:pt x="10" y="23"/>
                      <a:pt x="5" y="20"/>
                    </a:cubicBezTo>
                    <a:cubicBezTo>
                      <a:pt x="1" y="16"/>
                      <a:pt x="0" y="10"/>
                      <a:pt x="3" y="5"/>
                    </a:cubicBezTo>
                    <a:cubicBezTo>
                      <a:pt x="7" y="1"/>
                      <a:pt x="13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76" name="Freeform 121">
                <a:extLst>
                  <a:ext uri="{FF2B5EF4-FFF2-40B4-BE49-F238E27FC236}">
                    <a16:creationId xmlns:a16="http://schemas.microsoft.com/office/drawing/2014/main" id="{8D801301-BC39-4409-AF3D-41BD2B294D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4238" y="2628901"/>
                <a:ext cx="19050" cy="19050"/>
              </a:xfrm>
              <a:custGeom>
                <a:avLst/>
                <a:gdLst>
                  <a:gd name="T0" fmla="*/ 18 w 22"/>
                  <a:gd name="T1" fmla="*/ 4 h 22"/>
                  <a:gd name="T2" fmla="*/ 18 w 22"/>
                  <a:gd name="T3" fmla="*/ 18 h 22"/>
                  <a:gd name="T4" fmla="*/ 4 w 22"/>
                  <a:gd name="T5" fmla="*/ 18 h 22"/>
                  <a:gd name="T6" fmla="*/ 4 w 22"/>
                  <a:gd name="T7" fmla="*/ 4 h 22"/>
                  <a:gd name="T8" fmla="*/ 18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8" y="4"/>
                    </a:moveTo>
                    <a:cubicBezTo>
                      <a:pt x="22" y="8"/>
                      <a:pt x="22" y="14"/>
                      <a:pt x="18" y="18"/>
                    </a:cubicBezTo>
                    <a:cubicBezTo>
                      <a:pt x="14" y="22"/>
                      <a:pt x="8" y="22"/>
                      <a:pt x="4" y="18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4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77" name="Freeform 122">
                <a:extLst>
                  <a:ext uri="{FF2B5EF4-FFF2-40B4-BE49-F238E27FC236}">
                    <a16:creationId xmlns:a16="http://schemas.microsoft.com/office/drawing/2014/main" id="{CDFDEE64-F6E7-4F40-ABAA-B54B1C38F8D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251" y="2659064"/>
                <a:ext cx="19050" cy="19050"/>
              </a:xfrm>
              <a:custGeom>
                <a:avLst/>
                <a:gdLst>
                  <a:gd name="T0" fmla="*/ 18 w 23"/>
                  <a:gd name="T1" fmla="*/ 4 h 23"/>
                  <a:gd name="T2" fmla="*/ 19 w 23"/>
                  <a:gd name="T3" fmla="*/ 18 h 23"/>
                  <a:gd name="T4" fmla="*/ 5 w 23"/>
                  <a:gd name="T5" fmla="*/ 20 h 23"/>
                  <a:gd name="T6" fmla="*/ 3 w 23"/>
                  <a:gd name="T7" fmla="*/ 5 h 23"/>
                  <a:gd name="T8" fmla="*/ 18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8" y="4"/>
                    </a:moveTo>
                    <a:cubicBezTo>
                      <a:pt x="22" y="7"/>
                      <a:pt x="23" y="13"/>
                      <a:pt x="19" y="18"/>
                    </a:cubicBezTo>
                    <a:cubicBezTo>
                      <a:pt x="16" y="22"/>
                      <a:pt x="10" y="23"/>
                      <a:pt x="5" y="20"/>
                    </a:cubicBezTo>
                    <a:cubicBezTo>
                      <a:pt x="1" y="16"/>
                      <a:pt x="0" y="10"/>
                      <a:pt x="3" y="5"/>
                    </a:cubicBezTo>
                    <a:cubicBezTo>
                      <a:pt x="7" y="1"/>
                      <a:pt x="13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78" name="Freeform 123">
                <a:extLst>
                  <a:ext uri="{FF2B5EF4-FFF2-40B4-BE49-F238E27FC236}">
                    <a16:creationId xmlns:a16="http://schemas.microsoft.com/office/drawing/2014/main" id="{51F9ED57-6FD5-4A7C-894E-3810C7F833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43001" y="2541589"/>
                <a:ext cx="19050" cy="17463"/>
              </a:xfrm>
              <a:custGeom>
                <a:avLst/>
                <a:gdLst>
                  <a:gd name="T0" fmla="*/ 1 w 22"/>
                  <a:gd name="T1" fmla="*/ 9 h 21"/>
                  <a:gd name="T2" fmla="*/ 10 w 22"/>
                  <a:gd name="T3" fmla="*/ 20 h 21"/>
                  <a:gd name="T4" fmla="*/ 21 w 22"/>
                  <a:gd name="T5" fmla="*/ 12 h 21"/>
                  <a:gd name="T6" fmla="*/ 12 w 22"/>
                  <a:gd name="T7" fmla="*/ 0 h 21"/>
                  <a:gd name="T8" fmla="*/ 1 w 22"/>
                  <a:gd name="T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1">
                    <a:moveTo>
                      <a:pt x="1" y="9"/>
                    </a:moveTo>
                    <a:cubicBezTo>
                      <a:pt x="0" y="15"/>
                      <a:pt x="4" y="20"/>
                      <a:pt x="10" y="20"/>
                    </a:cubicBezTo>
                    <a:cubicBezTo>
                      <a:pt x="15" y="21"/>
                      <a:pt x="20" y="17"/>
                      <a:pt x="21" y="12"/>
                    </a:cubicBezTo>
                    <a:cubicBezTo>
                      <a:pt x="22" y="6"/>
                      <a:pt x="18" y="1"/>
                      <a:pt x="12" y="0"/>
                    </a:cubicBezTo>
                    <a:cubicBezTo>
                      <a:pt x="7" y="0"/>
                      <a:pt x="2" y="4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79" name="Freeform 124">
                <a:extLst>
                  <a:ext uri="{FF2B5EF4-FFF2-40B4-BE49-F238E27FC236}">
                    <a16:creationId xmlns:a16="http://schemas.microsoft.com/office/drawing/2014/main" id="{D25C4203-097C-403B-AD6C-FB9C04699E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2688" y="2547939"/>
                <a:ext cx="19050" cy="20638"/>
              </a:xfrm>
              <a:custGeom>
                <a:avLst/>
                <a:gdLst>
                  <a:gd name="T0" fmla="*/ 1 w 23"/>
                  <a:gd name="T1" fmla="*/ 9 h 23"/>
                  <a:gd name="T2" fmla="*/ 9 w 23"/>
                  <a:gd name="T3" fmla="*/ 21 h 23"/>
                  <a:gd name="T4" fmla="*/ 21 w 23"/>
                  <a:gd name="T5" fmla="*/ 14 h 23"/>
                  <a:gd name="T6" fmla="*/ 14 w 23"/>
                  <a:gd name="T7" fmla="*/ 2 h 23"/>
                  <a:gd name="T8" fmla="*/ 1 w 23"/>
                  <a:gd name="T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" y="9"/>
                    </a:moveTo>
                    <a:cubicBezTo>
                      <a:pt x="0" y="14"/>
                      <a:pt x="3" y="20"/>
                      <a:pt x="9" y="21"/>
                    </a:cubicBezTo>
                    <a:cubicBezTo>
                      <a:pt x="14" y="23"/>
                      <a:pt x="20" y="19"/>
                      <a:pt x="21" y="14"/>
                    </a:cubicBezTo>
                    <a:cubicBezTo>
                      <a:pt x="23" y="9"/>
                      <a:pt x="19" y="3"/>
                      <a:pt x="14" y="2"/>
                    </a:cubicBezTo>
                    <a:cubicBezTo>
                      <a:pt x="8" y="0"/>
                      <a:pt x="3" y="3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80" name="Freeform 125">
                <a:extLst>
                  <a:ext uri="{FF2B5EF4-FFF2-40B4-BE49-F238E27FC236}">
                    <a16:creationId xmlns:a16="http://schemas.microsoft.com/office/drawing/2014/main" id="{A547267D-CCF3-439A-B9F6-7F8055AD269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19201" y="2560639"/>
                <a:ext cx="22225" cy="20638"/>
              </a:xfrm>
              <a:custGeom>
                <a:avLst/>
                <a:gdLst>
                  <a:gd name="T0" fmla="*/ 3 w 24"/>
                  <a:gd name="T1" fmla="*/ 7 h 23"/>
                  <a:gd name="T2" fmla="*/ 8 w 24"/>
                  <a:gd name="T3" fmla="*/ 21 h 23"/>
                  <a:gd name="T4" fmla="*/ 21 w 24"/>
                  <a:gd name="T5" fmla="*/ 15 h 23"/>
                  <a:gd name="T6" fmla="*/ 16 w 24"/>
                  <a:gd name="T7" fmla="*/ 2 h 23"/>
                  <a:gd name="T8" fmla="*/ 3 w 24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3">
                    <a:moveTo>
                      <a:pt x="3" y="7"/>
                    </a:moveTo>
                    <a:cubicBezTo>
                      <a:pt x="0" y="13"/>
                      <a:pt x="3" y="19"/>
                      <a:pt x="8" y="21"/>
                    </a:cubicBezTo>
                    <a:cubicBezTo>
                      <a:pt x="13" y="23"/>
                      <a:pt x="19" y="20"/>
                      <a:pt x="21" y="15"/>
                    </a:cubicBezTo>
                    <a:cubicBezTo>
                      <a:pt x="24" y="10"/>
                      <a:pt x="21" y="4"/>
                      <a:pt x="16" y="2"/>
                    </a:cubicBezTo>
                    <a:cubicBezTo>
                      <a:pt x="11" y="0"/>
                      <a:pt x="5" y="2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81" name="Freeform 126">
                <a:extLst>
                  <a:ext uri="{FF2B5EF4-FFF2-40B4-BE49-F238E27FC236}">
                    <a16:creationId xmlns:a16="http://schemas.microsoft.com/office/drawing/2014/main" id="{5CF0DF8A-676F-4674-BD6D-4D6139D945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57301" y="2578101"/>
                <a:ext cx="19050" cy="20638"/>
              </a:xfrm>
              <a:custGeom>
                <a:avLst/>
                <a:gdLst>
                  <a:gd name="T0" fmla="*/ 3 w 23"/>
                  <a:gd name="T1" fmla="*/ 7 h 23"/>
                  <a:gd name="T2" fmla="*/ 6 w 23"/>
                  <a:gd name="T3" fmla="*/ 21 h 23"/>
                  <a:gd name="T4" fmla="*/ 20 w 23"/>
                  <a:gd name="T5" fmla="*/ 17 h 23"/>
                  <a:gd name="T6" fmla="*/ 17 w 23"/>
                  <a:gd name="T7" fmla="*/ 3 h 23"/>
                  <a:gd name="T8" fmla="*/ 3 w 23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3" y="7"/>
                    </a:moveTo>
                    <a:cubicBezTo>
                      <a:pt x="0" y="12"/>
                      <a:pt x="2" y="18"/>
                      <a:pt x="6" y="21"/>
                    </a:cubicBezTo>
                    <a:cubicBezTo>
                      <a:pt x="11" y="23"/>
                      <a:pt x="17" y="22"/>
                      <a:pt x="20" y="17"/>
                    </a:cubicBezTo>
                    <a:cubicBezTo>
                      <a:pt x="23" y="12"/>
                      <a:pt x="21" y="6"/>
                      <a:pt x="17" y="3"/>
                    </a:cubicBezTo>
                    <a:cubicBezTo>
                      <a:pt x="12" y="0"/>
                      <a:pt x="5" y="2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82" name="Freeform 127">
                <a:extLst>
                  <a:ext uri="{FF2B5EF4-FFF2-40B4-BE49-F238E27FC236}">
                    <a16:creationId xmlns:a16="http://schemas.microsoft.com/office/drawing/2014/main" id="{37925BE5-D24C-4B00-9B0E-C67ADAC2A9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90638" y="2601914"/>
                <a:ext cx="19050" cy="19050"/>
              </a:xfrm>
              <a:custGeom>
                <a:avLst/>
                <a:gdLst>
                  <a:gd name="T0" fmla="*/ 4 w 23"/>
                  <a:gd name="T1" fmla="*/ 5 h 23"/>
                  <a:gd name="T2" fmla="*/ 6 w 23"/>
                  <a:gd name="T3" fmla="*/ 20 h 23"/>
                  <a:gd name="T4" fmla="*/ 20 w 23"/>
                  <a:gd name="T5" fmla="*/ 18 h 23"/>
                  <a:gd name="T6" fmla="*/ 18 w 23"/>
                  <a:gd name="T7" fmla="*/ 3 h 23"/>
                  <a:gd name="T8" fmla="*/ 4 w 23"/>
                  <a:gd name="T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4" y="5"/>
                    </a:moveTo>
                    <a:cubicBezTo>
                      <a:pt x="0" y="10"/>
                      <a:pt x="1" y="16"/>
                      <a:pt x="6" y="20"/>
                    </a:cubicBezTo>
                    <a:cubicBezTo>
                      <a:pt x="10" y="23"/>
                      <a:pt x="17" y="22"/>
                      <a:pt x="20" y="18"/>
                    </a:cubicBezTo>
                    <a:cubicBezTo>
                      <a:pt x="23" y="13"/>
                      <a:pt x="23" y="7"/>
                      <a:pt x="18" y="3"/>
                    </a:cubicBezTo>
                    <a:cubicBezTo>
                      <a:pt x="14" y="0"/>
                      <a:pt x="7" y="1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83" name="Freeform 128">
                <a:extLst>
                  <a:ext uri="{FF2B5EF4-FFF2-40B4-BE49-F238E27FC236}">
                    <a16:creationId xmlns:a16="http://schemas.microsoft.com/office/drawing/2014/main" id="{799A7DC5-B5BD-47A5-9E16-A44E713BF0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20801" y="2628901"/>
                <a:ext cx="20638" cy="19050"/>
              </a:xfrm>
              <a:custGeom>
                <a:avLst/>
                <a:gdLst>
                  <a:gd name="T0" fmla="*/ 4 w 22"/>
                  <a:gd name="T1" fmla="*/ 4 h 22"/>
                  <a:gd name="T2" fmla="*/ 4 w 22"/>
                  <a:gd name="T3" fmla="*/ 18 h 22"/>
                  <a:gd name="T4" fmla="*/ 18 w 22"/>
                  <a:gd name="T5" fmla="*/ 18 h 22"/>
                  <a:gd name="T6" fmla="*/ 18 w 22"/>
                  <a:gd name="T7" fmla="*/ 4 h 22"/>
                  <a:gd name="T8" fmla="*/ 4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4" y="4"/>
                    </a:moveTo>
                    <a:cubicBezTo>
                      <a:pt x="0" y="8"/>
                      <a:pt x="0" y="14"/>
                      <a:pt x="4" y="18"/>
                    </a:cubicBezTo>
                    <a:cubicBezTo>
                      <a:pt x="7" y="22"/>
                      <a:pt x="14" y="22"/>
                      <a:pt x="18" y="18"/>
                    </a:cubicBezTo>
                    <a:cubicBezTo>
                      <a:pt x="22" y="14"/>
                      <a:pt x="22" y="8"/>
                      <a:pt x="18" y="4"/>
                    </a:cubicBezTo>
                    <a:cubicBezTo>
                      <a:pt x="14" y="0"/>
                      <a:pt x="7" y="0"/>
                      <a:pt x="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284" name="Freeform 129">
                <a:extLst>
                  <a:ext uri="{FF2B5EF4-FFF2-40B4-BE49-F238E27FC236}">
                    <a16:creationId xmlns:a16="http://schemas.microsoft.com/office/drawing/2014/main" id="{5FD928DF-6DA9-4930-9331-5C4B042D8C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47788" y="2659064"/>
                <a:ext cx="20638" cy="19050"/>
              </a:xfrm>
              <a:custGeom>
                <a:avLst/>
                <a:gdLst>
                  <a:gd name="T0" fmla="*/ 5 w 23"/>
                  <a:gd name="T1" fmla="*/ 4 h 23"/>
                  <a:gd name="T2" fmla="*/ 3 w 23"/>
                  <a:gd name="T3" fmla="*/ 18 h 23"/>
                  <a:gd name="T4" fmla="*/ 17 w 23"/>
                  <a:gd name="T5" fmla="*/ 20 h 23"/>
                  <a:gd name="T6" fmla="*/ 19 w 23"/>
                  <a:gd name="T7" fmla="*/ 5 h 23"/>
                  <a:gd name="T8" fmla="*/ 5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5" y="4"/>
                    </a:moveTo>
                    <a:cubicBezTo>
                      <a:pt x="1" y="7"/>
                      <a:pt x="0" y="13"/>
                      <a:pt x="3" y="18"/>
                    </a:cubicBezTo>
                    <a:cubicBezTo>
                      <a:pt x="7" y="22"/>
                      <a:pt x="13" y="23"/>
                      <a:pt x="17" y="20"/>
                    </a:cubicBezTo>
                    <a:cubicBezTo>
                      <a:pt x="22" y="16"/>
                      <a:pt x="23" y="10"/>
                      <a:pt x="19" y="5"/>
                    </a:cubicBezTo>
                    <a:cubicBezTo>
                      <a:pt x="16" y="1"/>
                      <a:pt x="9" y="0"/>
                      <a:pt x="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</p:grpSp>
      </p:grpSp>
      <p:grpSp>
        <p:nvGrpSpPr>
          <p:cNvPr id="253" name="Gruppieren 252"/>
          <p:cNvGrpSpPr/>
          <p:nvPr/>
        </p:nvGrpSpPr>
        <p:grpSpPr>
          <a:xfrm>
            <a:off x="2959967" y="1441076"/>
            <a:ext cx="706532" cy="1707009"/>
            <a:chOff x="2955554" y="1347128"/>
            <a:chExt cx="706750" cy="1707536"/>
          </a:xfrm>
        </p:grpSpPr>
        <p:sp>
          <p:nvSpPr>
            <p:cNvPr id="92" name="Oval 75">
              <a:extLst>
                <a:ext uri="{FF2B5EF4-FFF2-40B4-BE49-F238E27FC236}">
                  <a16:creationId xmlns:a16="http://schemas.microsoft.com/office/drawing/2014/main" id="{B2C4D816-153A-4043-8BE9-3E4F811D9D59}"/>
                </a:ext>
              </a:extLst>
            </p:cNvPr>
            <p:cNvSpPr/>
            <p:nvPr/>
          </p:nvSpPr>
          <p:spPr bwMode="gray">
            <a:xfrm>
              <a:off x="3246511" y="1347128"/>
              <a:ext cx="124831" cy="124831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577">
                <a:defRPr/>
              </a:pPr>
              <a:endParaRPr lang="fr-FR" sz="800" kern="0">
                <a:solidFill>
                  <a:prstClr val="white"/>
                </a:solidFill>
                <a:latin typeface="Delivery"/>
              </a:endParaRPr>
            </a:p>
          </p:txBody>
        </p:sp>
        <p:cxnSp>
          <p:nvCxnSpPr>
            <p:cNvPr id="93" name="Straight Connector 76">
              <a:extLst>
                <a:ext uri="{FF2B5EF4-FFF2-40B4-BE49-F238E27FC236}">
                  <a16:creationId xmlns:a16="http://schemas.microsoft.com/office/drawing/2014/main" id="{BEB26919-BF6D-48BA-8A90-5FF2A6A829D8}"/>
                </a:ext>
              </a:extLst>
            </p:cNvPr>
            <p:cNvCxnSpPr/>
            <p:nvPr/>
          </p:nvCxnSpPr>
          <p:spPr bwMode="gray">
            <a:xfrm>
              <a:off x="3308927" y="1471959"/>
              <a:ext cx="0" cy="413772"/>
            </a:xfrm>
            <a:prstGeom prst="line">
              <a:avLst/>
            </a:prstGeom>
            <a:noFill/>
            <a:ln w="12700" cap="flat" cmpd="sng" algn="ctr">
              <a:solidFill>
                <a:schemeClr val="tx2"/>
              </a:solidFill>
              <a:prstDash val="solid"/>
              <a:headEnd type="none" w="sm" len="sm"/>
              <a:tailEnd type="none" w="sm" len="sm"/>
            </a:ln>
            <a:effectLst/>
          </p:spPr>
        </p:cxnSp>
        <p:sp>
          <p:nvSpPr>
            <p:cNvPr id="94" name="Oval 77">
              <a:extLst>
                <a:ext uri="{FF2B5EF4-FFF2-40B4-BE49-F238E27FC236}">
                  <a16:creationId xmlns:a16="http://schemas.microsoft.com/office/drawing/2014/main" id="{23327C55-1706-41BA-A743-0811E318E143}"/>
                </a:ext>
              </a:extLst>
            </p:cNvPr>
            <p:cNvSpPr/>
            <p:nvPr/>
          </p:nvSpPr>
          <p:spPr bwMode="gray">
            <a:xfrm>
              <a:off x="2978489" y="1863701"/>
              <a:ext cx="660876" cy="660876"/>
            </a:xfrm>
            <a:prstGeom prst="ellipse">
              <a:avLst/>
            </a:prstGeom>
            <a:solidFill>
              <a:schemeClr val="bg1"/>
            </a:solidFill>
            <a:ln w="508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577">
                <a:defRPr/>
              </a:pPr>
              <a:endParaRPr lang="fr-FR" sz="800" kern="0">
                <a:solidFill>
                  <a:prstClr val="white"/>
                </a:solidFill>
                <a:latin typeface="Delivery"/>
              </a:endParaRPr>
            </a:p>
          </p:txBody>
        </p:sp>
        <p:grpSp>
          <p:nvGrpSpPr>
            <p:cNvPr id="95" name="Group 78">
              <a:extLst>
                <a:ext uri="{FF2B5EF4-FFF2-40B4-BE49-F238E27FC236}">
                  <a16:creationId xmlns:a16="http://schemas.microsoft.com/office/drawing/2014/main" id="{012D8C5A-0D5E-47B8-B014-A77AE979BF8F}"/>
                </a:ext>
              </a:extLst>
            </p:cNvPr>
            <p:cNvGrpSpPr/>
            <p:nvPr/>
          </p:nvGrpSpPr>
          <p:grpSpPr bwMode="gray">
            <a:xfrm flipV="1">
              <a:off x="2955554" y="2420345"/>
              <a:ext cx="706750" cy="634319"/>
              <a:chOff x="857251" y="2219326"/>
              <a:chExt cx="511175" cy="458788"/>
            </a:xfrm>
            <a:solidFill>
              <a:schemeClr val="accent2"/>
            </a:solidFill>
          </p:grpSpPr>
          <p:sp>
            <p:nvSpPr>
              <p:cNvPr id="96" name="Oval 106">
                <a:extLst>
                  <a:ext uri="{FF2B5EF4-FFF2-40B4-BE49-F238E27FC236}">
                    <a16:creationId xmlns:a16="http://schemas.microsoft.com/office/drawing/2014/main" id="{09C6002F-E7EB-4931-8C3C-AF77D55C307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087438" y="2219326"/>
                <a:ext cx="50800" cy="5080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97" name="Oval 107">
                <a:extLst>
                  <a:ext uri="{FF2B5EF4-FFF2-40B4-BE49-F238E27FC236}">
                    <a16:creationId xmlns:a16="http://schemas.microsoft.com/office/drawing/2014/main" id="{2BC24B15-5DB1-47AB-8206-8008C98F81E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538414"/>
                <a:ext cx="17463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98" name="Oval 108">
                <a:extLst>
                  <a:ext uri="{FF2B5EF4-FFF2-40B4-BE49-F238E27FC236}">
                    <a16:creationId xmlns:a16="http://schemas.microsoft.com/office/drawing/2014/main" id="{54F0CBA2-C741-46A5-81CF-E33CB3ADEC4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98726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99" name="Oval 109">
                <a:extLst>
                  <a:ext uri="{FF2B5EF4-FFF2-40B4-BE49-F238E27FC236}">
                    <a16:creationId xmlns:a16="http://schemas.microsoft.com/office/drawing/2014/main" id="{8E4A14F2-2262-425E-B95A-FAAFD0EA80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57451"/>
                <a:ext cx="17463" cy="190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00" name="Oval 110">
                <a:extLst>
                  <a:ext uri="{FF2B5EF4-FFF2-40B4-BE49-F238E27FC236}">
                    <a16:creationId xmlns:a16="http://schemas.microsoft.com/office/drawing/2014/main" id="{86F6841C-FC4F-4BB0-865E-F037E667942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333626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01" name="Oval 111">
                <a:extLst>
                  <a:ext uri="{FF2B5EF4-FFF2-40B4-BE49-F238E27FC236}">
                    <a16:creationId xmlns:a16="http://schemas.microsoft.com/office/drawing/2014/main" id="{5153FF2D-9798-4C2F-92C8-C2D8339BFD1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293939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02" name="Oval 112">
                <a:extLst>
                  <a:ext uri="{FF2B5EF4-FFF2-40B4-BE49-F238E27FC236}">
                    <a16:creationId xmlns:a16="http://schemas.microsoft.com/office/drawing/2014/main" id="{A0C0C1D7-EECF-4282-832D-8D8C016682B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414589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03" name="Oval 113">
                <a:extLst>
                  <a:ext uri="{FF2B5EF4-FFF2-40B4-BE49-F238E27FC236}">
                    <a16:creationId xmlns:a16="http://schemas.microsoft.com/office/drawing/2014/main" id="{D96A3FB1-F0B2-4BC9-8914-A20B162A241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03313" y="2373314"/>
                <a:ext cx="17463" cy="174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04" name="Freeform 114">
                <a:extLst>
                  <a:ext uri="{FF2B5EF4-FFF2-40B4-BE49-F238E27FC236}">
                    <a16:creationId xmlns:a16="http://schemas.microsoft.com/office/drawing/2014/main" id="{296DC930-DCB0-4A4F-BCCE-38BD58C07C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62038" y="2541589"/>
                <a:ext cx="19050" cy="17463"/>
              </a:xfrm>
              <a:custGeom>
                <a:avLst/>
                <a:gdLst>
                  <a:gd name="T0" fmla="*/ 21 w 21"/>
                  <a:gd name="T1" fmla="*/ 9 h 21"/>
                  <a:gd name="T2" fmla="*/ 12 w 21"/>
                  <a:gd name="T3" fmla="*/ 20 h 21"/>
                  <a:gd name="T4" fmla="*/ 1 w 21"/>
                  <a:gd name="T5" fmla="*/ 12 h 21"/>
                  <a:gd name="T6" fmla="*/ 9 w 21"/>
                  <a:gd name="T7" fmla="*/ 0 h 21"/>
                  <a:gd name="T8" fmla="*/ 21 w 21"/>
                  <a:gd name="T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1">
                    <a:moveTo>
                      <a:pt x="21" y="9"/>
                    </a:moveTo>
                    <a:cubicBezTo>
                      <a:pt x="21" y="15"/>
                      <a:pt x="18" y="20"/>
                      <a:pt x="12" y="20"/>
                    </a:cubicBezTo>
                    <a:cubicBezTo>
                      <a:pt x="6" y="21"/>
                      <a:pt x="1" y="17"/>
                      <a:pt x="1" y="12"/>
                    </a:cubicBezTo>
                    <a:cubicBezTo>
                      <a:pt x="0" y="6"/>
                      <a:pt x="4" y="1"/>
                      <a:pt x="9" y="0"/>
                    </a:cubicBezTo>
                    <a:cubicBezTo>
                      <a:pt x="15" y="0"/>
                      <a:pt x="20" y="4"/>
                      <a:pt x="2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05" name="Freeform 115">
                <a:extLst>
                  <a:ext uri="{FF2B5EF4-FFF2-40B4-BE49-F238E27FC236}">
                    <a16:creationId xmlns:a16="http://schemas.microsoft.com/office/drawing/2014/main" id="{C256F768-1A5F-4F8B-B964-B6715F731E0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22351" y="2547939"/>
                <a:ext cx="20638" cy="20638"/>
              </a:xfrm>
              <a:custGeom>
                <a:avLst/>
                <a:gdLst>
                  <a:gd name="T0" fmla="*/ 21 w 23"/>
                  <a:gd name="T1" fmla="*/ 9 h 23"/>
                  <a:gd name="T2" fmla="*/ 14 w 23"/>
                  <a:gd name="T3" fmla="*/ 21 h 23"/>
                  <a:gd name="T4" fmla="*/ 1 w 23"/>
                  <a:gd name="T5" fmla="*/ 14 h 23"/>
                  <a:gd name="T6" fmla="*/ 9 w 23"/>
                  <a:gd name="T7" fmla="*/ 2 h 23"/>
                  <a:gd name="T8" fmla="*/ 21 w 23"/>
                  <a:gd name="T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1" y="9"/>
                    </a:moveTo>
                    <a:cubicBezTo>
                      <a:pt x="23" y="14"/>
                      <a:pt x="19" y="20"/>
                      <a:pt x="14" y="21"/>
                    </a:cubicBezTo>
                    <a:cubicBezTo>
                      <a:pt x="8" y="23"/>
                      <a:pt x="3" y="19"/>
                      <a:pt x="1" y="14"/>
                    </a:cubicBezTo>
                    <a:cubicBezTo>
                      <a:pt x="0" y="9"/>
                      <a:pt x="3" y="3"/>
                      <a:pt x="9" y="2"/>
                    </a:cubicBezTo>
                    <a:cubicBezTo>
                      <a:pt x="14" y="0"/>
                      <a:pt x="20" y="3"/>
                      <a:pt x="2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06" name="Freeform 116">
                <a:extLst>
                  <a:ext uri="{FF2B5EF4-FFF2-40B4-BE49-F238E27FC236}">
                    <a16:creationId xmlns:a16="http://schemas.microsoft.com/office/drawing/2014/main" id="{32F5C3E6-72D8-4A3F-B3D4-C2AFABB945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4251" y="2560639"/>
                <a:ext cx="19050" cy="20638"/>
              </a:xfrm>
              <a:custGeom>
                <a:avLst/>
                <a:gdLst>
                  <a:gd name="T0" fmla="*/ 21 w 23"/>
                  <a:gd name="T1" fmla="*/ 7 h 23"/>
                  <a:gd name="T2" fmla="*/ 15 w 23"/>
                  <a:gd name="T3" fmla="*/ 21 h 23"/>
                  <a:gd name="T4" fmla="*/ 2 w 23"/>
                  <a:gd name="T5" fmla="*/ 15 h 23"/>
                  <a:gd name="T6" fmla="*/ 8 w 23"/>
                  <a:gd name="T7" fmla="*/ 2 h 23"/>
                  <a:gd name="T8" fmla="*/ 21 w 23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1" y="7"/>
                    </a:moveTo>
                    <a:cubicBezTo>
                      <a:pt x="23" y="13"/>
                      <a:pt x="21" y="19"/>
                      <a:pt x="15" y="21"/>
                    </a:cubicBezTo>
                    <a:cubicBezTo>
                      <a:pt x="10" y="23"/>
                      <a:pt x="4" y="20"/>
                      <a:pt x="2" y="15"/>
                    </a:cubicBezTo>
                    <a:cubicBezTo>
                      <a:pt x="0" y="10"/>
                      <a:pt x="2" y="4"/>
                      <a:pt x="8" y="2"/>
                    </a:cubicBezTo>
                    <a:cubicBezTo>
                      <a:pt x="13" y="0"/>
                      <a:pt x="19" y="2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07" name="Freeform 117">
                <a:extLst>
                  <a:ext uri="{FF2B5EF4-FFF2-40B4-BE49-F238E27FC236}">
                    <a16:creationId xmlns:a16="http://schemas.microsoft.com/office/drawing/2014/main" id="{757A99D3-158D-4ABA-B15C-130D5581B87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6151" y="2578101"/>
                <a:ext cx="22225" cy="20638"/>
              </a:xfrm>
              <a:custGeom>
                <a:avLst/>
                <a:gdLst>
                  <a:gd name="T0" fmla="*/ 21 w 24"/>
                  <a:gd name="T1" fmla="*/ 7 h 23"/>
                  <a:gd name="T2" fmla="*/ 17 w 24"/>
                  <a:gd name="T3" fmla="*/ 21 h 23"/>
                  <a:gd name="T4" fmla="*/ 3 w 24"/>
                  <a:gd name="T5" fmla="*/ 17 h 23"/>
                  <a:gd name="T6" fmla="*/ 7 w 24"/>
                  <a:gd name="T7" fmla="*/ 3 h 23"/>
                  <a:gd name="T8" fmla="*/ 21 w 24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3">
                    <a:moveTo>
                      <a:pt x="21" y="7"/>
                    </a:moveTo>
                    <a:cubicBezTo>
                      <a:pt x="24" y="12"/>
                      <a:pt x="22" y="18"/>
                      <a:pt x="17" y="21"/>
                    </a:cubicBezTo>
                    <a:cubicBezTo>
                      <a:pt x="12" y="23"/>
                      <a:pt x="6" y="22"/>
                      <a:pt x="3" y="17"/>
                    </a:cubicBezTo>
                    <a:cubicBezTo>
                      <a:pt x="0" y="12"/>
                      <a:pt x="2" y="6"/>
                      <a:pt x="7" y="3"/>
                    </a:cubicBezTo>
                    <a:cubicBezTo>
                      <a:pt x="12" y="0"/>
                      <a:pt x="18" y="2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08" name="Freeform 118">
                <a:extLst>
                  <a:ext uri="{FF2B5EF4-FFF2-40B4-BE49-F238E27FC236}">
                    <a16:creationId xmlns:a16="http://schemas.microsoft.com/office/drawing/2014/main" id="{48DC092C-0FDC-442E-B400-9D74FEB6D9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2813" y="2601914"/>
                <a:ext cx="20638" cy="19050"/>
              </a:xfrm>
              <a:custGeom>
                <a:avLst/>
                <a:gdLst>
                  <a:gd name="T0" fmla="*/ 20 w 23"/>
                  <a:gd name="T1" fmla="*/ 5 h 23"/>
                  <a:gd name="T2" fmla="*/ 18 w 23"/>
                  <a:gd name="T3" fmla="*/ 20 h 23"/>
                  <a:gd name="T4" fmla="*/ 3 w 23"/>
                  <a:gd name="T5" fmla="*/ 18 h 23"/>
                  <a:gd name="T6" fmla="*/ 5 w 23"/>
                  <a:gd name="T7" fmla="*/ 3 h 23"/>
                  <a:gd name="T8" fmla="*/ 20 w 23"/>
                  <a:gd name="T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20" y="5"/>
                    </a:moveTo>
                    <a:cubicBezTo>
                      <a:pt x="23" y="10"/>
                      <a:pt x="22" y="16"/>
                      <a:pt x="18" y="20"/>
                    </a:cubicBezTo>
                    <a:cubicBezTo>
                      <a:pt x="13" y="23"/>
                      <a:pt x="7" y="22"/>
                      <a:pt x="3" y="18"/>
                    </a:cubicBezTo>
                    <a:cubicBezTo>
                      <a:pt x="0" y="13"/>
                      <a:pt x="1" y="7"/>
                      <a:pt x="5" y="3"/>
                    </a:cubicBezTo>
                    <a:cubicBezTo>
                      <a:pt x="10" y="0"/>
                      <a:pt x="16" y="1"/>
                      <a:pt x="2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09" name="Freeform 119">
                <a:extLst>
                  <a:ext uri="{FF2B5EF4-FFF2-40B4-BE49-F238E27FC236}">
                    <a16:creationId xmlns:a16="http://schemas.microsoft.com/office/drawing/2014/main" id="{AD768839-3FF2-4DDC-A83E-FCECA95500D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4238" y="2628901"/>
                <a:ext cx="19050" cy="19050"/>
              </a:xfrm>
              <a:custGeom>
                <a:avLst/>
                <a:gdLst>
                  <a:gd name="T0" fmla="*/ 18 w 22"/>
                  <a:gd name="T1" fmla="*/ 4 h 22"/>
                  <a:gd name="T2" fmla="*/ 18 w 22"/>
                  <a:gd name="T3" fmla="*/ 18 h 22"/>
                  <a:gd name="T4" fmla="*/ 4 w 22"/>
                  <a:gd name="T5" fmla="*/ 18 h 22"/>
                  <a:gd name="T6" fmla="*/ 4 w 22"/>
                  <a:gd name="T7" fmla="*/ 4 h 22"/>
                  <a:gd name="T8" fmla="*/ 18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8" y="4"/>
                    </a:moveTo>
                    <a:cubicBezTo>
                      <a:pt x="22" y="8"/>
                      <a:pt x="22" y="14"/>
                      <a:pt x="18" y="18"/>
                    </a:cubicBezTo>
                    <a:cubicBezTo>
                      <a:pt x="14" y="22"/>
                      <a:pt x="8" y="22"/>
                      <a:pt x="4" y="18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4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10" name="Freeform 120">
                <a:extLst>
                  <a:ext uri="{FF2B5EF4-FFF2-40B4-BE49-F238E27FC236}">
                    <a16:creationId xmlns:a16="http://schemas.microsoft.com/office/drawing/2014/main" id="{8F11A03D-DCA8-445D-A821-EE7A90374A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251" y="2659064"/>
                <a:ext cx="19050" cy="19050"/>
              </a:xfrm>
              <a:custGeom>
                <a:avLst/>
                <a:gdLst>
                  <a:gd name="T0" fmla="*/ 18 w 23"/>
                  <a:gd name="T1" fmla="*/ 4 h 23"/>
                  <a:gd name="T2" fmla="*/ 19 w 23"/>
                  <a:gd name="T3" fmla="*/ 18 h 23"/>
                  <a:gd name="T4" fmla="*/ 5 w 23"/>
                  <a:gd name="T5" fmla="*/ 20 h 23"/>
                  <a:gd name="T6" fmla="*/ 3 w 23"/>
                  <a:gd name="T7" fmla="*/ 5 h 23"/>
                  <a:gd name="T8" fmla="*/ 18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8" y="4"/>
                    </a:moveTo>
                    <a:cubicBezTo>
                      <a:pt x="22" y="7"/>
                      <a:pt x="23" y="13"/>
                      <a:pt x="19" y="18"/>
                    </a:cubicBezTo>
                    <a:cubicBezTo>
                      <a:pt x="16" y="22"/>
                      <a:pt x="10" y="23"/>
                      <a:pt x="5" y="20"/>
                    </a:cubicBezTo>
                    <a:cubicBezTo>
                      <a:pt x="1" y="16"/>
                      <a:pt x="0" y="10"/>
                      <a:pt x="3" y="5"/>
                    </a:cubicBezTo>
                    <a:cubicBezTo>
                      <a:pt x="7" y="1"/>
                      <a:pt x="13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11" name="Freeform 121">
                <a:extLst>
                  <a:ext uri="{FF2B5EF4-FFF2-40B4-BE49-F238E27FC236}">
                    <a16:creationId xmlns:a16="http://schemas.microsoft.com/office/drawing/2014/main" id="{BBC06BF4-C6ED-4644-945A-0D7E238586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4238" y="2628901"/>
                <a:ext cx="19050" cy="19050"/>
              </a:xfrm>
              <a:custGeom>
                <a:avLst/>
                <a:gdLst>
                  <a:gd name="T0" fmla="*/ 18 w 22"/>
                  <a:gd name="T1" fmla="*/ 4 h 22"/>
                  <a:gd name="T2" fmla="*/ 18 w 22"/>
                  <a:gd name="T3" fmla="*/ 18 h 22"/>
                  <a:gd name="T4" fmla="*/ 4 w 22"/>
                  <a:gd name="T5" fmla="*/ 18 h 22"/>
                  <a:gd name="T6" fmla="*/ 4 w 22"/>
                  <a:gd name="T7" fmla="*/ 4 h 22"/>
                  <a:gd name="T8" fmla="*/ 18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18" y="4"/>
                    </a:moveTo>
                    <a:cubicBezTo>
                      <a:pt x="22" y="8"/>
                      <a:pt x="22" y="14"/>
                      <a:pt x="18" y="18"/>
                    </a:cubicBezTo>
                    <a:cubicBezTo>
                      <a:pt x="14" y="22"/>
                      <a:pt x="8" y="22"/>
                      <a:pt x="4" y="18"/>
                    </a:cubicBezTo>
                    <a:cubicBezTo>
                      <a:pt x="0" y="14"/>
                      <a:pt x="0" y="8"/>
                      <a:pt x="4" y="4"/>
                    </a:cubicBezTo>
                    <a:cubicBezTo>
                      <a:pt x="8" y="0"/>
                      <a:pt x="14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12" name="Freeform 122">
                <a:extLst>
                  <a:ext uri="{FF2B5EF4-FFF2-40B4-BE49-F238E27FC236}">
                    <a16:creationId xmlns:a16="http://schemas.microsoft.com/office/drawing/2014/main" id="{0C6015E3-D87F-4A09-92CA-879A7A1E653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7251" y="2659064"/>
                <a:ext cx="19050" cy="19050"/>
              </a:xfrm>
              <a:custGeom>
                <a:avLst/>
                <a:gdLst>
                  <a:gd name="T0" fmla="*/ 18 w 23"/>
                  <a:gd name="T1" fmla="*/ 4 h 23"/>
                  <a:gd name="T2" fmla="*/ 19 w 23"/>
                  <a:gd name="T3" fmla="*/ 18 h 23"/>
                  <a:gd name="T4" fmla="*/ 5 w 23"/>
                  <a:gd name="T5" fmla="*/ 20 h 23"/>
                  <a:gd name="T6" fmla="*/ 3 w 23"/>
                  <a:gd name="T7" fmla="*/ 5 h 23"/>
                  <a:gd name="T8" fmla="*/ 18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8" y="4"/>
                    </a:moveTo>
                    <a:cubicBezTo>
                      <a:pt x="22" y="7"/>
                      <a:pt x="23" y="13"/>
                      <a:pt x="19" y="18"/>
                    </a:cubicBezTo>
                    <a:cubicBezTo>
                      <a:pt x="16" y="22"/>
                      <a:pt x="10" y="23"/>
                      <a:pt x="5" y="20"/>
                    </a:cubicBezTo>
                    <a:cubicBezTo>
                      <a:pt x="1" y="16"/>
                      <a:pt x="0" y="10"/>
                      <a:pt x="3" y="5"/>
                    </a:cubicBezTo>
                    <a:cubicBezTo>
                      <a:pt x="7" y="1"/>
                      <a:pt x="13" y="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13" name="Freeform 123">
                <a:extLst>
                  <a:ext uri="{FF2B5EF4-FFF2-40B4-BE49-F238E27FC236}">
                    <a16:creationId xmlns:a16="http://schemas.microsoft.com/office/drawing/2014/main" id="{F58D3B8F-015D-4F1E-BE78-1D5A6FDE90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43001" y="2541589"/>
                <a:ext cx="19050" cy="17463"/>
              </a:xfrm>
              <a:custGeom>
                <a:avLst/>
                <a:gdLst>
                  <a:gd name="T0" fmla="*/ 1 w 22"/>
                  <a:gd name="T1" fmla="*/ 9 h 21"/>
                  <a:gd name="T2" fmla="*/ 10 w 22"/>
                  <a:gd name="T3" fmla="*/ 20 h 21"/>
                  <a:gd name="T4" fmla="*/ 21 w 22"/>
                  <a:gd name="T5" fmla="*/ 12 h 21"/>
                  <a:gd name="T6" fmla="*/ 12 w 22"/>
                  <a:gd name="T7" fmla="*/ 0 h 21"/>
                  <a:gd name="T8" fmla="*/ 1 w 22"/>
                  <a:gd name="T9" fmla="*/ 9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1">
                    <a:moveTo>
                      <a:pt x="1" y="9"/>
                    </a:moveTo>
                    <a:cubicBezTo>
                      <a:pt x="0" y="15"/>
                      <a:pt x="4" y="20"/>
                      <a:pt x="10" y="20"/>
                    </a:cubicBezTo>
                    <a:cubicBezTo>
                      <a:pt x="15" y="21"/>
                      <a:pt x="20" y="17"/>
                      <a:pt x="21" y="12"/>
                    </a:cubicBezTo>
                    <a:cubicBezTo>
                      <a:pt x="22" y="6"/>
                      <a:pt x="18" y="1"/>
                      <a:pt x="12" y="0"/>
                    </a:cubicBezTo>
                    <a:cubicBezTo>
                      <a:pt x="7" y="0"/>
                      <a:pt x="2" y="4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14" name="Freeform 124">
                <a:extLst>
                  <a:ext uri="{FF2B5EF4-FFF2-40B4-BE49-F238E27FC236}">
                    <a16:creationId xmlns:a16="http://schemas.microsoft.com/office/drawing/2014/main" id="{E5375987-78B5-426E-A000-B6ED4DEB2C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182688" y="2547939"/>
                <a:ext cx="19050" cy="20638"/>
              </a:xfrm>
              <a:custGeom>
                <a:avLst/>
                <a:gdLst>
                  <a:gd name="T0" fmla="*/ 1 w 23"/>
                  <a:gd name="T1" fmla="*/ 9 h 23"/>
                  <a:gd name="T2" fmla="*/ 9 w 23"/>
                  <a:gd name="T3" fmla="*/ 21 h 23"/>
                  <a:gd name="T4" fmla="*/ 21 w 23"/>
                  <a:gd name="T5" fmla="*/ 14 h 23"/>
                  <a:gd name="T6" fmla="*/ 14 w 23"/>
                  <a:gd name="T7" fmla="*/ 2 h 23"/>
                  <a:gd name="T8" fmla="*/ 1 w 23"/>
                  <a:gd name="T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1" y="9"/>
                    </a:moveTo>
                    <a:cubicBezTo>
                      <a:pt x="0" y="14"/>
                      <a:pt x="3" y="20"/>
                      <a:pt x="9" y="21"/>
                    </a:cubicBezTo>
                    <a:cubicBezTo>
                      <a:pt x="14" y="23"/>
                      <a:pt x="20" y="19"/>
                      <a:pt x="21" y="14"/>
                    </a:cubicBezTo>
                    <a:cubicBezTo>
                      <a:pt x="23" y="9"/>
                      <a:pt x="19" y="3"/>
                      <a:pt x="14" y="2"/>
                    </a:cubicBezTo>
                    <a:cubicBezTo>
                      <a:pt x="8" y="0"/>
                      <a:pt x="3" y="3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15" name="Freeform 125">
                <a:extLst>
                  <a:ext uri="{FF2B5EF4-FFF2-40B4-BE49-F238E27FC236}">
                    <a16:creationId xmlns:a16="http://schemas.microsoft.com/office/drawing/2014/main" id="{E0D16B7D-B901-4489-9E0D-9AEA38B640F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19201" y="2560639"/>
                <a:ext cx="22225" cy="20638"/>
              </a:xfrm>
              <a:custGeom>
                <a:avLst/>
                <a:gdLst>
                  <a:gd name="T0" fmla="*/ 3 w 24"/>
                  <a:gd name="T1" fmla="*/ 7 h 23"/>
                  <a:gd name="T2" fmla="*/ 8 w 24"/>
                  <a:gd name="T3" fmla="*/ 21 h 23"/>
                  <a:gd name="T4" fmla="*/ 21 w 24"/>
                  <a:gd name="T5" fmla="*/ 15 h 23"/>
                  <a:gd name="T6" fmla="*/ 16 w 24"/>
                  <a:gd name="T7" fmla="*/ 2 h 23"/>
                  <a:gd name="T8" fmla="*/ 3 w 24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3">
                    <a:moveTo>
                      <a:pt x="3" y="7"/>
                    </a:moveTo>
                    <a:cubicBezTo>
                      <a:pt x="0" y="13"/>
                      <a:pt x="3" y="19"/>
                      <a:pt x="8" y="21"/>
                    </a:cubicBezTo>
                    <a:cubicBezTo>
                      <a:pt x="13" y="23"/>
                      <a:pt x="19" y="20"/>
                      <a:pt x="21" y="15"/>
                    </a:cubicBezTo>
                    <a:cubicBezTo>
                      <a:pt x="24" y="10"/>
                      <a:pt x="21" y="4"/>
                      <a:pt x="16" y="2"/>
                    </a:cubicBezTo>
                    <a:cubicBezTo>
                      <a:pt x="11" y="0"/>
                      <a:pt x="5" y="2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16" name="Freeform 126">
                <a:extLst>
                  <a:ext uri="{FF2B5EF4-FFF2-40B4-BE49-F238E27FC236}">
                    <a16:creationId xmlns:a16="http://schemas.microsoft.com/office/drawing/2014/main" id="{37D151E0-2AFE-4EE3-8877-F765875B776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57301" y="2578101"/>
                <a:ext cx="19050" cy="20638"/>
              </a:xfrm>
              <a:custGeom>
                <a:avLst/>
                <a:gdLst>
                  <a:gd name="T0" fmla="*/ 3 w 23"/>
                  <a:gd name="T1" fmla="*/ 7 h 23"/>
                  <a:gd name="T2" fmla="*/ 6 w 23"/>
                  <a:gd name="T3" fmla="*/ 21 h 23"/>
                  <a:gd name="T4" fmla="*/ 20 w 23"/>
                  <a:gd name="T5" fmla="*/ 17 h 23"/>
                  <a:gd name="T6" fmla="*/ 17 w 23"/>
                  <a:gd name="T7" fmla="*/ 3 h 23"/>
                  <a:gd name="T8" fmla="*/ 3 w 23"/>
                  <a:gd name="T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3" y="7"/>
                    </a:moveTo>
                    <a:cubicBezTo>
                      <a:pt x="0" y="12"/>
                      <a:pt x="2" y="18"/>
                      <a:pt x="6" y="21"/>
                    </a:cubicBezTo>
                    <a:cubicBezTo>
                      <a:pt x="11" y="23"/>
                      <a:pt x="17" y="22"/>
                      <a:pt x="20" y="17"/>
                    </a:cubicBezTo>
                    <a:cubicBezTo>
                      <a:pt x="23" y="12"/>
                      <a:pt x="21" y="6"/>
                      <a:pt x="17" y="3"/>
                    </a:cubicBezTo>
                    <a:cubicBezTo>
                      <a:pt x="12" y="0"/>
                      <a:pt x="5" y="2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17" name="Freeform 127">
                <a:extLst>
                  <a:ext uri="{FF2B5EF4-FFF2-40B4-BE49-F238E27FC236}">
                    <a16:creationId xmlns:a16="http://schemas.microsoft.com/office/drawing/2014/main" id="{D0CEC1EF-4F2A-4DED-9001-F080CCE979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290638" y="2601914"/>
                <a:ext cx="19050" cy="19050"/>
              </a:xfrm>
              <a:custGeom>
                <a:avLst/>
                <a:gdLst>
                  <a:gd name="T0" fmla="*/ 4 w 23"/>
                  <a:gd name="T1" fmla="*/ 5 h 23"/>
                  <a:gd name="T2" fmla="*/ 6 w 23"/>
                  <a:gd name="T3" fmla="*/ 20 h 23"/>
                  <a:gd name="T4" fmla="*/ 20 w 23"/>
                  <a:gd name="T5" fmla="*/ 18 h 23"/>
                  <a:gd name="T6" fmla="*/ 18 w 23"/>
                  <a:gd name="T7" fmla="*/ 3 h 23"/>
                  <a:gd name="T8" fmla="*/ 4 w 23"/>
                  <a:gd name="T9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4" y="5"/>
                    </a:moveTo>
                    <a:cubicBezTo>
                      <a:pt x="0" y="10"/>
                      <a:pt x="1" y="16"/>
                      <a:pt x="6" y="20"/>
                    </a:cubicBezTo>
                    <a:cubicBezTo>
                      <a:pt x="10" y="23"/>
                      <a:pt x="17" y="22"/>
                      <a:pt x="20" y="18"/>
                    </a:cubicBezTo>
                    <a:cubicBezTo>
                      <a:pt x="23" y="13"/>
                      <a:pt x="23" y="7"/>
                      <a:pt x="18" y="3"/>
                    </a:cubicBezTo>
                    <a:cubicBezTo>
                      <a:pt x="14" y="0"/>
                      <a:pt x="7" y="1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18" name="Freeform 128">
                <a:extLst>
                  <a:ext uri="{FF2B5EF4-FFF2-40B4-BE49-F238E27FC236}">
                    <a16:creationId xmlns:a16="http://schemas.microsoft.com/office/drawing/2014/main" id="{39C5A37A-FD46-43DE-9AE0-20A2313F3B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20801" y="2628901"/>
                <a:ext cx="20638" cy="19050"/>
              </a:xfrm>
              <a:custGeom>
                <a:avLst/>
                <a:gdLst>
                  <a:gd name="T0" fmla="*/ 4 w 22"/>
                  <a:gd name="T1" fmla="*/ 4 h 22"/>
                  <a:gd name="T2" fmla="*/ 4 w 22"/>
                  <a:gd name="T3" fmla="*/ 18 h 22"/>
                  <a:gd name="T4" fmla="*/ 18 w 22"/>
                  <a:gd name="T5" fmla="*/ 18 h 22"/>
                  <a:gd name="T6" fmla="*/ 18 w 22"/>
                  <a:gd name="T7" fmla="*/ 4 h 22"/>
                  <a:gd name="T8" fmla="*/ 4 w 22"/>
                  <a:gd name="T9" fmla="*/ 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4" y="4"/>
                    </a:moveTo>
                    <a:cubicBezTo>
                      <a:pt x="0" y="8"/>
                      <a:pt x="0" y="14"/>
                      <a:pt x="4" y="18"/>
                    </a:cubicBezTo>
                    <a:cubicBezTo>
                      <a:pt x="7" y="22"/>
                      <a:pt x="14" y="22"/>
                      <a:pt x="18" y="18"/>
                    </a:cubicBezTo>
                    <a:cubicBezTo>
                      <a:pt x="22" y="14"/>
                      <a:pt x="22" y="8"/>
                      <a:pt x="18" y="4"/>
                    </a:cubicBezTo>
                    <a:cubicBezTo>
                      <a:pt x="14" y="0"/>
                      <a:pt x="7" y="0"/>
                      <a:pt x="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  <p:sp>
            <p:nvSpPr>
              <p:cNvPr id="119" name="Freeform 129">
                <a:extLst>
                  <a:ext uri="{FF2B5EF4-FFF2-40B4-BE49-F238E27FC236}">
                    <a16:creationId xmlns:a16="http://schemas.microsoft.com/office/drawing/2014/main" id="{F1CC990B-5A4B-4817-A885-C8D92E8855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47788" y="2659064"/>
                <a:ext cx="20638" cy="19050"/>
              </a:xfrm>
              <a:custGeom>
                <a:avLst/>
                <a:gdLst>
                  <a:gd name="T0" fmla="*/ 5 w 23"/>
                  <a:gd name="T1" fmla="*/ 4 h 23"/>
                  <a:gd name="T2" fmla="*/ 3 w 23"/>
                  <a:gd name="T3" fmla="*/ 18 h 23"/>
                  <a:gd name="T4" fmla="*/ 17 w 23"/>
                  <a:gd name="T5" fmla="*/ 20 h 23"/>
                  <a:gd name="T6" fmla="*/ 19 w 23"/>
                  <a:gd name="T7" fmla="*/ 5 h 23"/>
                  <a:gd name="T8" fmla="*/ 5 w 23"/>
                  <a:gd name="T9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3">
                    <a:moveTo>
                      <a:pt x="5" y="4"/>
                    </a:moveTo>
                    <a:cubicBezTo>
                      <a:pt x="1" y="7"/>
                      <a:pt x="0" y="13"/>
                      <a:pt x="3" y="18"/>
                    </a:cubicBezTo>
                    <a:cubicBezTo>
                      <a:pt x="7" y="22"/>
                      <a:pt x="13" y="23"/>
                      <a:pt x="17" y="20"/>
                    </a:cubicBezTo>
                    <a:cubicBezTo>
                      <a:pt x="22" y="16"/>
                      <a:pt x="23" y="10"/>
                      <a:pt x="19" y="5"/>
                    </a:cubicBezTo>
                    <a:cubicBezTo>
                      <a:pt x="16" y="1"/>
                      <a:pt x="9" y="0"/>
                      <a:pt x="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59" tIns="34280" rIns="68559" bIns="34280" numCol="1" anchor="t" anchorCtr="0" compatLnSpc="1">
                <a:prstTxWarp prst="textNoShape">
                  <a:avLst/>
                </a:prstTxWarp>
              </a:bodyPr>
              <a:lstStyle/>
              <a:p>
                <a:pPr defTabSz="685577">
                  <a:defRPr/>
                </a:pPr>
                <a:endParaRPr lang="fr-FR" sz="800" kern="0">
                  <a:solidFill>
                    <a:srgbClr val="434547"/>
                  </a:solidFill>
                  <a:latin typeface="Delivery"/>
                </a:endParaRPr>
              </a:p>
            </p:txBody>
          </p:sp>
        </p:grpSp>
      </p:grpSp>
      <p:pic>
        <p:nvPicPr>
          <p:cNvPr id="286" name="Grafik 285">
            <a:extLst>
              <a:ext uri="{FF2B5EF4-FFF2-40B4-BE49-F238E27FC236}">
                <a16:creationId xmlns:a16="http://schemas.microsoft.com/office/drawing/2014/main" id="{162762BF-9AB5-A64B-9D58-7B1EADB7E68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3126" y="2193180"/>
            <a:ext cx="465377" cy="221768"/>
          </a:xfrm>
          <a:prstGeom prst="rect">
            <a:avLst/>
          </a:prstGeom>
        </p:spPr>
      </p:pic>
      <p:pic>
        <p:nvPicPr>
          <p:cNvPr id="287" name="Graphic 4">
            <a:extLst>
              <a:ext uri="{FF2B5EF4-FFF2-40B4-BE49-F238E27FC236}">
                <a16:creationId xmlns:a16="http://schemas.microsoft.com/office/drawing/2014/main" id="{8A88EC07-8120-3B47-9459-90F0351319F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5358" y="1987929"/>
            <a:ext cx="608306" cy="608306"/>
          </a:xfrm>
          <a:prstGeom prst="rect">
            <a:avLst/>
          </a:prstGeom>
        </p:spPr>
      </p:pic>
      <p:pic>
        <p:nvPicPr>
          <p:cNvPr id="288" name="Picture 182" descr="V:\Support Team\4 Grafik\4-4 Grafikprojekte\Comms Strategy\2014-03-27 und 28 TEM\Logos Strategy 2020\DHL Strategie 2020_Final_RZ\DHL Strategie 2020\1_DHL_Strategie_2020_General\Office\WMF\RGB\DHL_Strategie_2020_General_rgb_pyBG_C.wmf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6594"/>
          <a:stretch/>
        </p:blipFill>
        <p:spPr bwMode="gray">
          <a:xfrm>
            <a:off x="3091987" y="2101608"/>
            <a:ext cx="433313" cy="364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id="{5F7A7724-EC76-828D-0575-D40CB96CEBC0}"/>
              </a:ext>
            </a:extLst>
          </p:cNvPr>
          <p:cNvGrpSpPr/>
          <p:nvPr/>
        </p:nvGrpSpPr>
        <p:grpSpPr>
          <a:xfrm>
            <a:off x="8313755" y="263897"/>
            <a:ext cx="475439" cy="431326"/>
            <a:chOff x="456307" y="2610985"/>
            <a:chExt cx="277200" cy="277200"/>
          </a:xfrm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9E4E61EF-35E7-BC57-1D46-83E3DE3A9924}"/>
                </a:ext>
              </a:extLst>
            </p:cNvPr>
            <p:cNvSpPr/>
            <p:nvPr/>
          </p:nvSpPr>
          <p:spPr>
            <a:xfrm>
              <a:off x="456307" y="2610985"/>
              <a:ext cx="277200" cy="277200"/>
            </a:xfrm>
            <a:prstGeom prst="ellipse">
              <a:avLst/>
            </a:prstGeom>
            <a:solidFill>
              <a:srgbClr val="238F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52">
                <a:defRPr/>
              </a:pPr>
              <a:endParaRPr lang="fr-FR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3" name="Graphique 12">
              <a:extLst>
                <a:ext uri="{FF2B5EF4-FFF2-40B4-BE49-F238E27FC236}">
                  <a16:creationId xmlns:a16="http://schemas.microsoft.com/office/drawing/2014/main" id="{AB3E601D-A8E7-1312-87AF-F930042B5E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0475" y="2636308"/>
              <a:ext cx="234000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058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>
            <a:extLst>
              <a:ext uri="{FF2B5EF4-FFF2-40B4-BE49-F238E27FC236}">
                <a16:creationId xmlns:a16="http://schemas.microsoft.com/office/drawing/2014/main" id="{407F3BA5-7C66-274A-B0A4-5E08BB634D12}"/>
              </a:ext>
            </a:extLst>
          </p:cNvPr>
          <p:cNvSpPr/>
          <p:nvPr/>
        </p:nvSpPr>
        <p:spPr>
          <a:xfrm flipH="1">
            <a:off x="-1" y="4701281"/>
            <a:ext cx="9133911" cy="4422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78" tIns="35989" rIns="71978" bIns="35989" rtlCol="0" anchor="t">
            <a:noAutofit/>
          </a:bodyPr>
          <a:lstStyle/>
          <a:p>
            <a:pPr defTabSz="685560"/>
            <a:endParaRPr lang="aa-ET" sz="1199" err="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EF06D8-519D-BB48-BFB7-02E6D8E20128}"/>
              </a:ext>
            </a:extLst>
          </p:cNvPr>
          <p:cNvSpPr txBox="1"/>
          <p:nvPr/>
        </p:nvSpPr>
        <p:spPr>
          <a:xfrm>
            <a:off x="-4589245" y="-242522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85560">
              <a:lnSpc>
                <a:spcPct val="110000"/>
              </a:lnSpc>
              <a:spcAft>
                <a:spcPts val="500"/>
              </a:spcAft>
            </a:pPr>
            <a:endParaRPr lang="aa-ET" sz="1199" err="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70028FC-8E55-C34C-A9F4-86247F17C5B0}"/>
              </a:ext>
            </a:extLst>
          </p:cNvPr>
          <p:cNvSpPr txBox="1"/>
          <p:nvPr/>
        </p:nvSpPr>
        <p:spPr>
          <a:xfrm>
            <a:off x="1220289" y="1001662"/>
            <a:ext cx="4059547" cy="700027"/>
          </a:xfrm>
          <a:prstGeom prst="rect">
            <a:avLst/>
          </a:prstGeom>
          <a:noFill/>
        </p:spPr>
        <p:txBody>
          <a:bodyPr wrap="square" lIns="71978" tIns="71978" rIns="71978" bIns="0" rtlCol="0">
            <a:noAutofit/>
          </a:bodyPr>
          <a:lstStyle/>
          <a:p>
            <a:pPr defTabSz="685560"/>
            <a:r>
              <a:rPr lang="fr-FR" sz="1199" dirty="0">
                <a:solidFill>
                  <a:prstClr val="black"/>
                </a:solidFill>
                <a:latin typeface="Delivery"/>
              </a:rPr>
              <a:t>Objectif &gt;</a:t>
            </a:r>
            <a:r>
              <a:rPr lang="fr-FR" sz="1199" b="1" dirty="0">
                <a:solidFill>
                  <a:srgbClr val="D40511"/>
                </a:solidFill>
                <a:latin typeface="Delivery"/>
              </a:rPr>
              <a:t>30% de mélange de carburants durables </a:t>
            </a:r>
            <a:r>
              <a:rPr lang="fr-FR" sz="1199" dirty="0">
                <a:latin typeface="Delivery"/>
              </a:rPr>
              <a:t>pour l’aviation </a:t>
            </a:r>
            <a:r>
              <a:rPr lang="fr-FR" sz="1199" dirty="0">
                <a:solidFill>
                  <a:prstClr val="black"/>
                </a:solidFill>
                <a:latin typeface="Delivery"/>
              </a:rPr>
              <a:t>d'ici 2030 dans nos activités de transport express et d'expédition mondiales</a:t>
            </a:r>
            <a:endParaRPr lang="en-GB" sz="1199" dirty="0">
              <a:solidFill>
                <a:prstClr val="black"/>
              </a:solidFill>
              <a:latin typeface="Delivery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A53C7B58-4004-CC4B-8F05-9AE64E39E29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759" y="935517"/>
            <a:ext cx="764879" cy="734987"/>
          </a:xfrm>
          <a:prstGeom prst="ellipse">
            <a:avLst/>
          </a:prstGeom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E42A8656-5DAA-614E-8038-D62DE479459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759" y="1847044"/>
            <a:ext cx="764879" cy="734987"/>
          </a:xfrm>
          <a:prstGeom prst="ellipse">
            <a:avLst/>
          </a:prstGeom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BF871E9-DE33-FD4C-957C-DF619CA0401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759" y="2746332"/>
            <a:ext cx="789491" cy="758637"/>
          </a:xfrm>
          <a:prstGeom prst="ellipse">
            <a:avLst/>
          </a:prstGeom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E4BCCA8F-2136-1C46-9C21-A40ABE63F05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4757" y="3702774"/>
            <a:ext cx="789492" cy="758637"/>
          </a:xfrm>
          <a:prstGeom prst="ellipse">
            <a:avLst/>
          </a:prstGeom>
          <a:ln w="285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1AAACCAC-2870-1C40-91F3-0F2E2F14158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4107" y="1457415"/>
            <a:ext cx="356726" cy="356726"/>
          </a:xfrm>
          <a:prstGeom prst="rect">
            <a:avLst/>
          </a:prstGeom>
        </p:spPr>
      </p:pic>
      <p:sp>
        <p:nvSpPr>
          <p:cNvPr id="30" name="Rechteck 67">
            <a:extLst>
              <a:ext uri="{FF2B5EF4-FFF2-40B4-BE49-F238E27FC236}">
                <a16:creationId xmlns:a16="http://schemas.microsoft.com/office/drawing/2014/main" id="{13EAF2E8-AFB2-2042-B325-119436F0CFE0}"/>
              </a:ext>
            </a:extLst>
          </p:cNvPr>
          <p:cNvSpPr/>
          <p:nvPr/>
        </p:nvSpPr>
        <p:spPr>
          <a:xfrm>
            <a:off x="1411" y="87494"/>
            <a:ext cx="4238954" cy="639742"/>
          </a:xfrm>
          <a:prstGeom prst="rect">
            <a:avLst/>
          </a:prstGeom>
          <a:solidFill>
            <a:srgbClr val="007C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7912" tIns="0" rIns="0" bIns="0" rtlCol="0" anchor="ctr" anchorCtr="0">
            <a:noAutofit/>
          </a:bodyPr>
          <a:lstStyle/>
          <a:p>
            <a:pPr defTabSz="685544"/>
            <a:endParaRPr lang="en-US" sz="1799">
              <a:solidFill>
                <a:prstClr val="white"/>
              </a:solidFill>
              <a:latin typeface="Delivery"/>
            </a:endParaRP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ACFDB3FC-5E46-AB40-93C2-C9DC00B5C51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49391" y="87494"/>
            <a:ext cx="622608" cy="639743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80C8E725-9364-AE42-A2D3-0360081E5647}"/>
              </a:ext>
            </a:extLst>
          </p:cNvPr>
          <p:cNvSpPr txBox="1"/>
          <p:nvPr/>
        </p:nvSpPr>
        <p:spPr>
          <a:xfrm>
            <a:off x="1220289" y="1914725"/>
            <a:ext cx="4374091" cy="706975"/>
          </a:xfrm>
          <a:prstGeom prst="rect">
            <a:avLst/>
          </a:prstGeom>
          <a:noFill/>
        </p:spPr>
        <p:txBody>
          <a:bodyPr wrap="square" lIns="71978" tIns="71978" rIns="71978" bIns="0" rtlCol="0">
            <a:noAutofit/>
          </a:bodyPr>
          <a:lstStyle/>
          <a:p>
            <a:pPr defTabSz="685560"/>
            <a:r>
              <a:rPr lang="fr-FR" sz="1199" dirty="0">
                <a:solidFill>
                  <a:prstClr val="black"/>
                </a:solidFill>
                <a:latin typeface="Delivery"/>
              </a:rPr>
              <a:t>Électrifier </a:t>
            </a:r>
            <a:r>
              <a:rPr lang="fr-FR" sz="1199" b="1" dirty="0">
                <a:solidFill>
                  <a:srgbClr val="D40511"/>
                </a:solidFill>
                <a:latin typeface="Delivery"/>
              </a:rPr>
              <a:t>60 % des véhicules de livraison du dernier kilomètre </a:t>
            </a:r>
            <a:r>
              <a:rPr lang="fr-FR" sz="1199" dirty="0">
                <a:solidFill>
                  <a:prstClr val="black"/>
                </a:solidFill>
                <a:latin typeface="Delivery"/>
              </a:rPr>
              <a:t>et porter à plus de 30 % la part des carburants durables dans le line-</a:t>
            </a:r>
            <a:r>
              <a:rPr lang="fr-FR" sz="1199" dirty="0" err="1">
                <a:solidFill>
                  <a:prstClr val="black"/>
                </a:solidFill>
                <a:latin typeface="Delivery"/>
              </a:rPr>
              <a:t>haul</a:t>
            </a:r>
            <a:r>
              <a:rPr lang="fr-FR" sz="1199" dirty="0">
                <a:solidFill>
                  <a:prstClr val="black"/>
                </a:solidFill>
                <a:latin typeface="Delivery"/>
              </a:rPr>
              <a:t> d'ici à 2030</a:t>
            </a:r>
            <a:endParaRPr lang="en-GB" sz="1199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83BC8C8-8500-AF40-95FC-92ADEF0137B5}"/>
              </a:ext>
            </a:extLst>
          </p:cNvPr>
          <p:cNvSpPr txBox="1"/>
          <p:nvPr/>
        </p:nvSpPr>
        <p:spPr>
          <a:xfrm>
            <a:off x="1244902" y="2792064"/>
            <a:ext cx="4145927" cy="667171"/>
          </a:xfrm>
          <a:prstGeom prst="rect">
            <a:avLst/>
          </a:prstGeom>
          <a:noFill/>
        </p:spPr>
        <p:txBody>
          <a:bodyPr wrap="square" lIns="71978" tIns="71978" rIns="71978" bIns="0" rtlCol="0">
            <a:noAutofit/>
          </a:bodyPr>
          <a:lstStyle/>
          <a:p>
            <a:pPr defTabSz="685560"/>
            <a:r>
              <a:rPr lang="fr-FR" sz="1199" dirty="0">
                <a:solidFill>
                  <a:prstClr val="black"/>
                </a:solidFill>
                <a:latin typeface="Delivery"/>
              </a:rPr>
              <a:t>À partir de 2021, une </a:t>
            </a:r>
            <a:r>
              <a:rPr lang="fr-FR" sz="1199" b="1" dirty="0">
                <a:solidFill>
                  <a:srgbClr val="D40511"/>
                </a:solidFill>
                <a:latin typeface="Delivery"/>
              </a:rPr>
              <a:t>conception neutre en carbone </a:t>
            </a:r>
            <a:r>
              <a:rPr lang="fr-FR" sz="1199" dirty="0">
                <a:solidFill>
                  <a:prstClr val="black"/>
                </a:solidFill>
                <a:latin typeface="Delivery"/>
              </a:rPr>
              <a:t>doit être utilisée pour tous les nouveaux bâtiments (appartenant à l'entreprise).</a:t>
            </a:r>
            <a:endParaRPr lang="en-GB" sz="1199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7C90499-286D-CD42-8515-3F7AEDC2FA5D}"/>
              </a:ext>
            </a:extLst>
          </p:cNvPr>
          <p:cNvSpPr txBox="1"/>
          <p:nvPr/>
        </p:nvSpPr>
        <p:spPr>
          <a:xfrm>
            <a:off x="1244901" y="3830673"/>
            <a:ext cx="4443977" cy="502839"/>
          </a:xfrm>
          <a:prstGeom prst="rect">
            <a:avLst/>
          </a:prstGeom>
          <a:noFill/>
        </p:spPr>
        <p:txBody>
          <a:bodyPr wrap="square" lIns="71978" tIns="71978" rIns="71978" bIns="0" rtlCol="0">
            <a:noAutofit/>
          </a:bodyPr>
          <a:lstStyle/>
          <a:p>
            <a:pPr defTabSz="685560"/>
            <a:r>
              <a:rPr lang="fr-FR" sz="1199" dirty="0">
                <a:solidFill>
                  <a:prstClr val="black"/>
                </a:solidFill>
                <a:latin typeface="Delivery"/>
              </a:rPr>
              <a:t>Proposer des </a:t>
            </a:r>
            <a:r>
              <a:rPr lang="fr-FR" sz="1199" b="1" dirty="0">
                <a:solidFill>
                  <a:srgbClr val="D40511"/>
                </a:solidFill>
                <a:latin typeface="Delivery"/>
              </a:rPr>
              <a:t>alternatives vertes pour tous nos produits/solutions de base.</a:t>
            </a:r>
            <a:endParaRPr lang="en-GB" sz="1199" b="1" dirty="0">
              <a:solidFill>
                <a:srgbClr val="D40511"/>
              </a:solidFill>
              <a:latin typeface="Delivery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CCC589-C6C6-2346-94E4-142185C6D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781" y="155489"/>
            <a:ext cx="4643292" cy="493798"/>
          </a:xfrm>
        </p:spPr>
        <p:txBody>
          <a:bodyPr>
            <a:noAutofit/>
          </a:bodyPr>
          <a:lstStyle/>
          <a:p>
            <a:r>
              <a:rPr lang="fr-FR" sz="1799" b="1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Opérations vertes</a:t>
            </a:r>
            <a:br>
              <a:rPr lang="aa-ET" sz="1799" b="1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r>
              <a:rPr lang="fr-FR" sz="1799" b="1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ur la protection environnementale</a:t>
            </a:r>
            <a:endParaRPr lang="aa-ET" sz="1799" b="1" dirty="0">
              <a:solidFill>
                <a:schemeClr val="bg1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36" name="Textfeld 2">
            <a:extLst>
              <a:ext uri="{FF2B5EF4-FFF2-40B4-BE49-F238E27FC236}">
                <a16:creationId xmlns:a16="http://schemas.microsoft.com/office/drawing/2014/main" id="{E7A95151-2214-F54C-BCCF-607D6F530C5F}"/>
              </a:ext>
            </a:extLst>
          </p:cNvPr>
          <p:cNvSpPr txBox="1"/>
          <p:nvPr/>
        </p:nvSpPr>
        <p:spPr>
          <a:xfrm>
            <a:off x="194107" y="4807284"/>
            <a:ext cx="8731772" cy="43821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685560">
              <a:spcAft>
                <a:spcPts val="500"/>
              </a:spcAft>
            </a:pPr>
            <a:r>
              <a:rPr lang="fr-FR" sz="1600" kern="0" baseline="30000" dirty="0">
                <a:solidFill>
                  <a:prstClr val="black"/>
                </a:solidFill>
                <a:latin typeface="Delivery"/>
              </a:rPr>
              <a:t>Nous investirons </a:t>
            </a:r>
            <a:r>
              <a:rPr lang="fr-FR" sz="1600" b="1" kern="0" baseline="30000" dirty="0">
                <a:solidFill>
                  <a:srgbClr val="C00000"/>
                </a:solidFill>
                <a:latin typeface="Delivery"/>
              </a:rPr>
              <a:t>7 milliards d'euros jusqu'en 2030 dans des opérations propres </a:t>
            </a:r>
            <a:r>
              <a:rPr lang="fr-FR" sz="1600" kern="0" baseline="30000" dirty="0">
                <a:solidFill>
                  <a:prstClr val="black"/>
                </a:solidFill>
                <a:latin typeface="Delivery"/>
              </a:rPr>
              <a:t>afin de réduire nos émissions de 33 MT en 2020 à moins de 29 MT d'ici 2030, et nous nous engageons ainsi à respecter l'initiative Science-</a:t>
            </a:r>
            <a:r>
              <a:rPr lang="fr-FR" sz="1600" kern="0" baseline="30000" dirty="0" err="1">
                <a:solidFill>
                  <a:prstClr val="black"/>
                </a:solidFill>
                <a:latin typeface="Delivery"/>
              </a:rPr>
              <a:t>Based</a:t>
            </a:r>
            <a:r>
              <a:rPr lang="fr-FR" sz="1600" kern="0" baseline="30000" dirty="0">
                <a:solidFill>
                  <a:prstClr val="black"/>
                </a:solidFill>
                <a:latin typeface="Delivery"/>
              </a:rPr>
              <a:t> </a:t>
            </a:r>
            <a:r>
              <a:rPr lang="fr-FR" sz="1600" kern="0" baseline="30000" dirty="0" err="1">
                <a:solidFill>
                  <a:prstClr val="black"/>
                </a:solidFill>
                <a:latin typeface="Delivery"/>
              </a:rPr>
              <a:t>Targets</a:t>
            </a:r>
            <a:r>
              <a:rPr lang="fr-FR" sz="1600" kern="0" baseline="30000" dirty="0">
                <a:solidFill>
                  <a:prstClr val="black"/>
                </a:solidFill>
                <a:latin typeface="Delivery"/>
              </a:rPr>
              <a:t> (</a:t>
            </a:r>
            <a:r>
              <a:rPr lang="fr-FR" sz="1600" kern="0" baseline="30000" dirty="0" err="1">
                <a:solidFill>
                  <a:prstClr val="black"/>
                </a:solidFill>
                <a:latin typeface="Delivery"/>
              </a:rPr>
              <a:t>SBTi</a:t>
            </a:r>
            <a:r>
              <a:rPr lang="fr-FR" sz="1600" kern="0" baseline="30000" dirty="0">
                <a:solidFill>
                  <a:prstClr val="black"/>
                </a:solidFill>
                <a:latin typeface="Delivery"/>
              </a:rPr>
              <a:t>).</a:t>
            </a:r>
            <a:endParaRPr lang="en-US" sz="1600" kern="0" baseline="30000" dirty="0">
              <a:solidFill>
                <a:prstClr val="black"/>
              </a:solidFill>
              <a:latin typeface="Delivery"/>
              <a:ea typeface="Delivery"/>
              <a:cs typeface="Delivery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29FAEB0-5EEA-5084-9312-99CD231AF168}"/>
              </a:ext>
            </a:extLst>
          </p:cNvPr>
          <p:cNvSpPr txBox="1">
            <a:spLocks/>
          </p:cNvSpPr>
          <p:nvPr/>
        </p:nvSpPr>
        <p:spPr>
          <a:xfrm>
            <a:off x="5559930" y="987903"/>
            <a:ext cx="3573981" cy="442220"/>
          </a:xfrm>
          <a:prstGeom prst="rect">
            <a:avLst/>
          </a:prstGeom>
        </p:spPr>
        <p:txBody>
          <a:bodyPr vert="horz" lIns="68559" tIns="34280" rIns="68559" bIns="3428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00">
                <a:solidFill>
                  <a:prstClr val="white"/>
                </a:solidFill>
                <a:latin typeface="Delivery Arabic Cd Black" panose="020F0906020204020204" pitchFamily="34" charset="-78"/>
                <a:ea typeface="+mj-ea"/>
                <a:cs typeface="Delivery Arabic Cd Black" panose="020F0906020204020204" pitchFamily="34" charset="-78"/>
              </a:defRPr>
            </a:lvl1pPr>
          </a:lstStyle>
          <a:p>
            <a:pPr algn="ctr"/>
            <a:endParaRPr lang="en-US" sz="2000" dirty="0">
              <a:solidFill>
                <a:srgbClr val="C00000"/>
              </a:solidFill>
              <a:latin typeface="Delivery Cd Black" panose="020F0906020204020204" pitchFamily="34" charset="0"/>
              <a:ea typeface="Delivery Cd Black" panose="020F0906020204020204" pitchFamily="34" charset="0"/>
              <a:cs typeface="Delivery Cd Black" panose="020F0906020204020204" pitchFamily="34" charset="0"/>
            </a:endParaRPr>
          </a:p>
          <a:p>
            <a:pPr algn="ctr"/>
            <a:r>
              <a:rPr lang="en-US" sz="2000" dirty="0">
                <a:solidFill>
                  <a:srgbClr val="D40511"/>
                </a:solidFill>
                <a:latin typeface="Delivery Cd Black"/>
                <a:ea typeface="Delivery Cd Black"/>
                <a:cs typeface="Delivery Cd Black"/>
              </a:rPr>
              <a:t>C</a:t>
            </a:r>
            <a:r>
              <a:rPr lang="en-US" sz="1799" dirty="0">
                <a:solidFill>
                  <a:srgbClr val="D40511"/>
                </a:solidFill>
                <a:latin typeface="Delivery Cd Black"/>
                <a:ea typeface="Delivery Cd Black"/>
                <a:cs typeface="Delivery Cd Black"/>
              </a:rPr>
              <a:t>e que nous </a:t>
            </a:r>
            <a:r>
              <a:rPr lang="en-US" sz="1799" dirty="0" err="1">
                <a:solidFill>
                  <a:srgbClr val="D40511"/>
                </a:solidFill>
                <a:latin typeface="Delivery Cd Black"/>
                <a:ea typeface="Delivery Cd Black"/>
                <a:cs typeface="Delivery Cd Black"/>
              </a:rPr>
              <a:t>avons</a:t>
            </a:r>
            <a:r>
              <a:rPr lang="en-US" sz="1799" dirty="0">
                <a:solidFill>
                  <a:srgbClr val="D40511"/>
                </a:solidFill>
                <a:latin typeface="Delivery Cd Black"/>
                <a:ea typeface="Delivery Cd Black"/>
                <a:cs typeface="Delivery Cd Black"/>
              </a:rPr>
              <a:t> déjà accompli</a:t>
            </a:r>
            <a:endParaRPr lang="en-GB" sz="1799" dirty="0">
              <a:solidFill>
                <a:srgbClr val="D40511"/>
              </a:solidFill>
              <a:latin typeface="Delivery Cd Black"/>
              <a:ea typeface="Delivery Cd Black"/>
              <a:cs typeface="Delivery Cd Black"/>
            </a:endParaRPr>
          </a:p>
        </p:txBody>
      </p:sp>
      <p:sp>
        <p:nvSpPr>
          <p:cNvPr id="5" name="Textfeld 52">
            <a:extLst>
              <a:ext uri="{FF2B5EF4-FFF2-40B4-BE49-F238E27FC236}">
                <a16:creationId xmlns:a16="http://schemas.microsoft.com/office/drawing/2014/main" id="{D747A84F-2347-6FF0-E1FA-8083719687A2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898288" y="1717790"/>
            <a:ext cx="3099319" cy="266508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marL="171395" indent="-171395">
              <a:lnSpc>
                <a:spcPct val="110000"/>
              </a:lnSpc>
              <a:spcBef>
                <a:spcPts val="450"/>
              </a:spcBef>
              <a:spcAft>
                <a:spcPts val="450"/>
              </a:spcAft>
              <a:buClr>
                <a:srgbClr val="FFC000"/>
              </a:buClr>
              <a:buSzPct val="150000"/>
              <a:buFont typeface="Wingdings"/>
              <a:buChar char="§"/>
            </a:pPr>
            <a:r>
              <a:rPr lang="fr-FR" sz="1199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35% de gains d'efficacité en matière de co2 depuis 2007</a:t>
            </a:r>
            <a:endParaRPr lang="en-US" sz="1799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395" indent="-171395">
              <a:lnSpc>
                <a:spcPct val="110000"/>
              </a:lnSpc>
              <a:spcBef>
                <a:spcPts val="450"/>
              </a:spcBef>
              <a:spcAft>
                <a:spcPts val="450"/>
              </a:spcAft>
              <a:buClr>
                <a:srgbClr val="FFC000"/>
              </a:buClr>
              <a:buSzPct val="150000"/>
              <a:buFont typeface="Wingdings"/>
              <a:buChar char="§"/>
            </a:pPr>
            <a:r>
              <a:rPr lang="fr-FR" sz="1199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13 500 véhicules équipés de systèmes de propulsion alternatifs</a:t>
            </a:r>
          </a:p>
          <a:p>
            <a:pPr marL="171395" indent="-171395">
              <a:lnSpc>
                <a:spcPct val="110000"/>
              </a:lnSpc>
              <a:spcBef>
                <a:spcPts val="450"/>
              </a:spcBef>
              <a:spcAft>
                <a:spcPts val="450"/>
              </a:spcAft>
              <a:buClr>
                <a:srgbClr val="FFC000"/>
              </a:buClr>
              <a:buSzPct val="150000"/>
              <a:buFont typeface="Wingdings"/>
              <a:buChar char="§"/>
            </a:pPr>
            <a:r>
              <a:rPr lang="en-GB" sz="1199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27,000 </a:t>
            </a:r>
            <a:r>
              <a:rPr lang="en-GB" sz="1199" dirty="0" err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élos</a:t>
            </a:r>
            <a:r>
              <a:rPr lang="en-US" sz="1199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 </a:t>
            </a:r>
          </a:p>
          <a:p>
            <a:pPr marL="171395" indent="-171395">
              <a:lnSpc>
                <a:spcPct val="110000"/>
              </a:lnSpc>
              <a:spcBef>
                <a:spcPts val="450"/>
              </a:spcBef>
              <a:spcAft>
                <a:spcPts val="450"/>
              </a:spcAft>
              <a:buClr>
                <a:srgbClr val="FFC000"/>
              </a:buClr>
              <a:buSzPct val="150000"/>
              <a:buFont typeface="Wingdings"/>
              <a:buChar char="§"/>
            </a:pPr>
            <a:r>
              <a:rPr lang="en-GB" sz="1199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83% par </a:t>
            </a:r>
            <a:r>
              <a:rPr lang="en-GB" sz="1199" dirty="0" err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’elelctricite</a:t>
            </a:r>
            <a:r>
              <a:rPr lang="en-GB" sz="1199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</a:t>
            </a:r>
            <a:r>
              <a:rPr lang="en-GB" sz="1199" dirty="0" err="1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erte</a:t>
            </a:r>
            <a:endParaRPr lang="en-GB" sz="1199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395" indent="-171395">
              <a:lnSpc>
                <a:spcPct val="110000"/>
              </a:lnSpc>
              <a:spcBef>
                <a:spcPts val="450"/>
              </a:spcBef>
              <a:spcAft>
                <a:spcPts val="450"/>
              </a:spcAft>
              <a:buClr>
                <a:srgbClr val="FFC000"/>
              </a:buClr>
              <a:buSzPct val="150000"/>
              <a:buFont typeface="Wingdings"/>
              <a:buChar char="§"/>
            </a:pPr>
            <a:r>
              <a:rPr lang="en-GB" sz="1199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33% </a:t>
            </a:r>
            <a:r>
              <a:rPr lang="fr-FR" sz="1199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services zéro émission pour le premier et le dernier kilomètre</a:t>
            </a:r>
          </a:p>
          <a:p>
            <a:pPr marL="171395" indent="-171395">
              <a:lnSpc>
                <a:spcPct val="110000"/>
              </a:lnSpc>
              <a:spcBef>
                <a:spcPts val="450"/>
              </a:spcBef>
              <a:spcAft>
                <a:spcPts val="450"/>
              </a:spcAft>
              <a:buClr>
                <a:srgbClr val="FFC000"/>
              </a:buClr>
              <a:buSzPct val="150000"/>
              <a:buFont typeface="Wingdings"/>
              <a:buChar char="§"/>
            </a:pPr>
            <a:r>
              <a:rPr lang="fr-FR" sz="1199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lus de 3 millions d'arbres plantés depuis 2017</a:t>
            </a:r>
            <a:endParaRPr lang="en-GB" sz="1199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pic>
        <p:nvPicPr>
          <p:cNvPr id="6" name="Graphic 57">
            <a:extLst>
              <a:ext uri="{FF2B5EF4-FFF2-40B4-BE49-F238E27FC236}">
                <a16:creationId xmlns:a16="http://schemas.microsoft.com/office/drawing/2014/main" id="{84043133-DF85-27CA-7927-9EB7DF2CCB9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6395" y="2315700"/>
            <a:ext cx="356726" cy="356726"/>
          </a:xfrm>
          <a:prstGeom prst="rect">
            <a:avLst/>
          </a:prstGeom>
        </p:spPr>
      </p:pic>
      <p:pic>
        <p:nvPicPr>
          <p:cNvPr id="7" name="Graphic 57">
            <a:extLst>
              <a:ext uri="{FF2B5EF4-FFF2-40B4-BE49-F238E27FC236}">
                <a16:creationId xmlns:a16="http://schemas.microsoft.com/office/drawing/2014/main" id="{EBCCFD1F-CC8B-0EF1-36EB-D19EBDC0F0C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4107" y="3159954"/>
            <a:ext cx="356726" cy="356726"/>
          </a:xfrm>
          <a:prstGeom prst="rect">
            <a:avLst/>
          </a:prstGeom>
        </p:spPr>
      </p:pic>
      <p:pic>
        <p:nvPicPr>
          <p:cNvPr id="8" name="Graphic 57">
            <a:extLst>
              <a:ext uri="{FF2B5EF4-FFF2-40B4-BE49-F238E27FC236}">
                <a16:creationId xmlns:a16="http://schemas.microsoft.com/office/drawing/2014/main" id="{5FB87B77-332A-7DD0-B765-BE1DE08174A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6395" y="4211441"/>
            <a:ext cx="356726" cy="356726"/>
          </a:xfrm>
          <a:prstGeom prst="rect">
            <a:avLst/>
          </a:prstGeom>
        </p:spPr>
      </p:pic>
      <p:grpSp>
        <p:nvGrpSpPr>
          <p:cNvPr id="2" name="Groupe 1">
            <a:extLst>
              <a:ext uri="{FF2B5EF4-FFF2-40B4-BE49-F238E27FC236}">
                <a16:creationId xmlns:a16="http://schemas.microsoft.com/office/drawing/2014/main" id="{C085178B-2423-2A9B-6667-B0AB6506668A}"/>
              </a:ext>
            </a:extLst>
          </p:cNvPr>
          <p:cNvGrpSpPr/>
          <p:nvPr/>
        </p:nvGrpSpPr>
        <p:grpSpPr>
          <a:xfrm>
            <a:off x="8313755" y="263897"/>
            <a:ext cx="475439" cy="431326"/>
            <a:chOff x="456307" y="2610985"/>
            <a:chExt cx="277200" cy="277200"/>
          </a:xfrm>
        </p:grpSpPr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7499281C-182B-62D0-BC28-1072B2265E74}"/>
                </a:ext>
              </a:extLst>
            </p:cNvPr>
            <p:cNvSpPr/>
            <p:nvPr/>
          </p:nvSpPr>
          <p:spPr>
            <a:xfrm>
              <a:off x="456307" y="2610985"/>
              <a:ext cx="277200" cy="277200"/>
            </a:xfrm>
            <a:prstGeom prst="ellipse">
              <a:avLst/>
            </a:prstGeom>
            <a:solidFill>
              <a:srgbClr val="238F3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52">
                <a:defRPr/>
              </a:pPr>
              <a:endParaRPr lang="fr-FR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0" name="Graphique 9">
              <a:extLst>
                <a:ext uri="{FF2B5EF4-FFF2-40B4-BE49-F238E27FC236}">
                  <a16:creationId xmlns:a16="http://schemas.microsoft.com/office/drawing/2014/main" id="{56A1264B-0BE6-8F94-1C2A-67E6F1902A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70475" y="2636308"/>
              <a:ext cx="234000" cy="23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725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FCC828F-43F7-D4ED-5C18-D2FA7D98D69D}"/>
              </a:ext>
            </a:extLst>
          </p:cNvPr>
          <p:cNvSpPr/>
          <p:nvPr/>
        </p:nvSpPr>
        <p:spPr>
          <a:xfrm>
            <a:off x="1410" y="-46286"/>
            <a:ext cx="9141179" cy="2384407"/>
          </a:xfrm>
          <a:prstGeom prst="rect">
            <a:avLst/>
          </a:prstGeom>
          <a:solidFill>
            <a:srgbClr val="238F39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799"/>
          </a:p>
        </p:txBody>
      </p:sp>
      <p:pic>
        <p:nvPicPr>
          <p:cNvPr id="7" name="Image 6" descr="Une image contenant Véhicule terrestre, plein air, bâtiment, roue&#10;&#10;Description générée automatiquement">
            <a:extLst>
              <a:ext uri="{FF2B5EF4-FFF2-40B4-BE49-F238E27FC236}">
                <a16:creationId xmlns:a16="http://schemas.microsoft.com/office/drawing/2014/main" id="{5D729898-DE43-9A01-7E7F-72F99539502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98" b="29370"/>
          <a:stretch/>
        </p:blipFill>
        <p:spPr>
          <a:xfrm>
            <a:off x="-7883" y="-46286"/>
            <a:ext cx="9172116" cy="241124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D17B6E7-51DA-42D6-BEE4-6979F994F890}"/>
              </a:ext>
            </a:extLst>
          </p:cNvPr>
          <p:cNvSpPr/>
          <p:nvPr/>
        </p:nvSpPr>
        <p:spPr>
          <a:xfrm>
            <a:off x="153757" y="3301557"/>
            <a:ext cx="2005573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0" indent="-171390" defTabSz="914081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prstClr val="black"/>
                </a:solidFill>
                <a:latin typeface="Delivery"/>
              </a:rPr>
              <a:t>Programme de remplacement des avions (par exemple Boing777), </a:t>
            </a:r>
          </a:p>
          <a:p>
            <a:pPr marL="171390" indent="-171390" defTabSz="914081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prstClr val="black"/>
                </a:solidFill>
                <a:latin typeface="Delivery"/>
              </a:rPr>
              <a:t>Programme d'optimisation de la consommation de carburant, utilisation de carburant durable d'aviation</a:t>
            </a:r>
          </a:p>
          <a:p>
            <a:pPr marL="171390" indent="-171390" defTabSz="914081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prstClr val="black"/>
                </a:solidFill>
                <a:latin typeface="Delivery"/>
              </a:rPr>
              <a:t>Commande de  12 avions </a:t>
            </a:r>
            <a:r>
              <a:rPr lang="fr-FR" sz="1100" dirty="0" err="1">
                <a:solidFill>
                  <a:prstClr val="black"/>
                </a:solidFill>
                <a:latin typeface="Delivery"/>
              </a:rPr>
              <a:t>eCargo</a:t>
            </a:r>
            <a:r>
              <a:rPr lang="fr-FR" sz="1100" dirty="0">
                <a:solidFill>
                  <a:prstClr val="black"/>
                </a:solidFill>
                <a:latin typeface="Delivery"/>
              </a:rPr>
              <a:t> Alice</a:t>
            </a:r>
            <a:endParaRPr lang="en-US" sz="11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BE9DB83-64B6-4AA2-A58D-8CA100ED71E6}"/>
              </a:ext>
            </a:extLst>
          </p:cNvPr>
          <p:cNvSpPr txBox="1"/>
          <p:nvPr/>
        </p:nvSpPr>
        <p:spPr>
          <a:xfrm>
            <a:off x="407278" y="2627141"/>
            <a:ext cx="1509926" cy="1040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560">
              <a:lnSpc>
                <a:spcPct val="110000"/>
              </a:lnSpc>
              <a:spcAft>
                <a:spcPts val="500"/>
              </a:spcAft>
            </a:pPr>
            <a:r>
              <a:rPr lang="fr-FR" sz="1400" b="1">
                <a:solidFill>
                  <a:srgbClr val="007C39"/>
                </a:solidFill>
                <a:latin typeface="Delivery"/>
              </a:rPr>
              <a:t>Amélioration du réseau aérien</a:t>
            </a:r>
            <a:endParaRPr lang="aa-ET" sz="1400" b="1">
              <a:solidFill>
                <a:srgbClr val="007C39"/>
              </a:solidFill>
              <a:latin typeface="Delivery"/>
            </a:endParaRPr>
          </a:p>
        </p:txBody>
      </p:sp>
      <p:sp>
        <p:nvSpPr>
          <p:cNvPr id="11" name="TextBox 30">
            <a:extLst>
              <a:ext uri="{FF2B5EF4-FFF2-40B4-BE49-F238E27FC236}">
                <a16:creationId xmlns:a16="http://schemas.microsoft.com/office/drawing/2014/main" id="{F24E73FF-A2C5-4B93-A267-CC857910ED4F}"/>
              </a:ext>
            </a:extLst>
          </p:cNvPr>
          <p:cNvSpPr txBox="1"/>
          <p:nvPr/>
        </p:nvSpPr>
        <p:spPr>
          <a:xfrm>
            <a:off x="2141730" y="2651164"/>
            <a:ext cx="1509926" cy="1040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560">
              <a:lnSpc>
                <a:spcPct val="110000"/>
              </a:lnSpc>
              <a:spcAft>
                <a:spcPts val="500"/>
              </a:spcAft>
            </a:pPr>
            <a:r>
              <a:rPr lang="fr-FR" sz="1400" b="1" dirty="0">
                <a:solidFill>
                  <a:srgbClr val="007C39"/>
                </a:solidFill>
                <a:latin typeface="Delivery"/>
              </a:rPr>
              <a:t>Extension de la flotte électrique</a:t>
            </a:r>
            <a:endParaRPr lang="en-IN" sz="1400" b="1" dirty="0">
              <a:solidFill>
                <a:srgbClr val="007C39"/>
              </a:solidFill>
              <a:latin typeface="Delivery"/>
            </a:endParaRPr>
          </a:p>
        </p:txBody>
      </p:sp>
      <p:sp>
        <p:nvSpPr>
          <p:cNvPr id="12" name="TextBox 31">
            <a:extLst>
              <a:ext uri="{FF2B5EF4-FFF2-40B4-BE49-F238E27FC236}">
                <a16:creationId xmlns:a16="http://schemas.microsoft.com/office/drawing/2014/main" id="{85678BB9-5114-4421-9228-2CBF24AE032D}"/>
              </a:ext>
            </a:extLst>
          </p:cNvPr>
          <p:cNvSpPr txBox="1"/>
          <p:nvPr/>
        </p:nvSpPr>
        <p:spPr>
          <a:xfrm>
            <a:off x="3801206" y="2625128"/>
            <a:ext cx="1580773" cy="1040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560">
              <a:lnSpc>
                <a:spcPct val="110000"/>
              </a:lnSpc>
              <a:spcAft>
                <a:spcPts val="500"/>
              </a:spcAft>
            </a:pPr>
            <a:r>
              <a:rPr lang="fr-FR" sz="1400" b="1" dirty="0">
                <a:solidFill>
                  <a:srgbClr val="007C39"/>
                </a:solidFill>
                <a:latin typeface="Delivery"/>
              </a:rPr>
              <a:t>Création de bâtiments neutres en carbone</a:t>
            </a:r>
            <a:endParaRPr lang="en-IN" sz="1400" b="1" dirty="0">
              <a:solidFill>
                <a:srgbClr val="007C39"/>
              </a:solidFill>
              <a:latin typeface="Delivery"/>
            </a:endParaRPr>
          </a:p>
        </p:txBody>
      </p:sp>
      <p:sp>
        <p:nvSpPr>
          <p:cNvPr id="13" name="TextBox 32">
            <a:extLst>
              <a:ext uri="{FF2B5EF4-FFF2-40B4-BE49-F238E27FC236}">
                <a16:creationId xmlns:a16="http://schemas.microsoft.com/office/drawing/2014/main" id="{47674CB0-85FF-4385-9731-348D4197FDDA}"/>
              </a:ext>
            </a:extLst>
          </p:cNvPr>
          <p:cNvSpPr txBox="1"/>
          <p:nvPr/>
        </p:nvSpPr>
        <p:spPr>
          <a:xfrm>
            <a:off x="5474744" y="2651164"/>
            <a:ext cx="1509926" cy="1040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560">
              <a:lnSpc>
                <a:spcPct val="110000"/>
              </a:lnSpc>
              <a:spcAft>
                <a:spcPts val="500"/>
              </a:spcAft>
            </a:pPr>
            <a:r>
              <a:rPr lang="en-IN" sz="1400" b="1" dirty="0">
                <a:solidFill>
                  <a:srgbClr val="007C39"/>
                </a:solidFill>
                <a:latin typeface="Delivery"/>
              </a:rPr>
              <a:t>Engagement des </a:t>
            </a:r>
            <a:r>
              <a:rPr lang="en-IN" sz="1400" b="1" dirty="0" err="1">
                <a:solidFill>
                  <a:srgbClr val="007C39"/>
                </a:solidFill>
                <a:latin typeface="Delivery"/>
              </a:rPr>
              <a:t>employés</a:t>
            </a:r>
            <a:endParaRPr lang="en-IN" sz="1400" b="1" dirty="0">
              <a:solidFill>
                <a:srgbClr val="007C39"/>
              </a:solidFill>
              <a:latin typeface="Delivery"/>
            </a:endParaRPr>
          </a:p>
        </p:txBody>
      </p:sp>
      <p:sp>
        <p:nvSpPr>
          <p:cNvPr id="14" name="TextBox 33">
            <a:extLst>
              <a:ext uri="{FF2B5EF4-FFF2-40B4-BE49-F238E27FC236}">
                <a16:creationId xmlns:a16="http://schemas.microsoft.com/office/drawing/2014/main" id="{9A74E405-038F-43A1-8620-913F9CF7F9D5}"/>
              </a:ext>
            </a:extLst>
          </p:cNvPr>
          <p:cNvSpPr txBox="1"/>
          <p:nvPr/>
        </p:nvSpPr>
        <p:spPr>
          <a:xfrm>
            <a:off x="7123337" y="2625127"/>
            <a:ext cx="1614178" cy="10406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560"/>
            <a:r>
              <a:rPr lang="fr-FR" sz="1400" b="1" dirty="0">
                <a:solidFill>
                  <a:srgbClr val="007C39"/>
                </a:solidFill>
                <a:latin typeface="Delivery"/>
              </a:rPr>
              <a:t>Opérations propres / élargissement de l'offre de services</a:t>
            </a:r>
            <a:endParaRPr lang="en-IN" sz="1400" b="1" dirty="0">
              <a:solidFill>
                <a:srgbClr val="007C39"/>
              </a:solidFill>
              <a:latin typeface="Delivery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D375F7-BA13-41C4-88D5-4BF1AF4A58DF}"/>
              </a:ext>
            </a:extLst>
          </p:cNvPr>
          <p:cNvSpPr/>
          <p:nvPr/>
        </p:nvSpPr>
        <p:spPr>
          <a:xfrm>
            <a:off x="2010317" y="3277251"/>
            <a:ext cx="1849661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0" indent="-171390" defTabSz="914081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prstClr val="black"/>
                </a:solidFill>
                <a:latin typeface="Delivery"/>
              </a:rPr>
              <a:t>Préparation d'un déploiement à plus grande échelle dans l'UE</a:t>
            </a:r>
          </a:p>
          <a:p>
            <a:pPr marL="171390" indent="-171390" defTabSz="914081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prstClr val="black"/>
                </a:solidFill>
                <a:latin typeface="Delivery"/>
              </a:rPr>
              <a:t>Pilotage d'alternatives propres avec les clients</a:t>
            </a:r>
          </a:p>
          <a:p>
            <a:pPr marL="171390" indent="-171390" defTabSz="914081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solidFill>
                  <a:prstClr val="black"/>
                </a:solidFill>
                <a:latin typeface="Delivery"/>
              </a:rPr>
              <a:t>Coopération avec les fournisseurs</a:t>
            </a:r>
            <a:endParaRPr lang="en-US" sz="11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7960C55-906E-4A31-9D71-A25845EADF8D}"/>
              </a:ext>
            </a:extLst>
          </p:cNvPr>
          <p:cNvSpPr/>
          <p:nvPr/>
        </p:nvSpPr>
        <p:spPr>
          <a:xfrm>
            <a:off x="3667623" y="3300358"/>
            <a:ext cx="1914093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0" indent="-171390" defTabSz="914081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>
                <a:solidFill>
                  <a:prstClr val="black"/>
                </a:solidFill>
                <a:latin typeface="Delivery"/>
              </a:rPr>
              <a:t>Utiliser les technologies les plus modernes disponibles sur le marché dans la région pour créer des bâtiments à zéro émission (par exemple, le chauffage/climatisation par accumulation de glace à Cologne, DE).</a:t>
            </a:r>
            <a:endParaRPr lang="en-US" sz="110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9A3208D-4BD6-42F5-86C0-49FA1BC01B43}"/>
              </a:ext>
            </a:extLst>
          </p:cNvPr>
          <p:cNvSpPr/>
          <p:nvPr/>
        </p:nvSpPr>
        <p:spPr>
          <a:xfrm>
            <a:off x="5413406" y="3277251"/>
            <a:ext cx="171647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0" indent="-171390" defTabSz="914081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>
                <a:solidFill>
                  <a:prstClr val="black"/>
                </a:solidFill>
                <a:latin typeface="Delivery"/>
              </a:rPr>
              <a:t>Accent mis sur la formation des employés en tant que spécialiste certifié </a:t>
            </a:r>
            <a:r>
              <a:rPr lang="fr-FR" sz="1100" err="1">
                <a:solidFill>
                  <a:prstClr val="black"/>
                </a:solidFill>
                <a:latin typeface="Delivery"/>
              </a:rPr>
              <a:t>GoGreen</a:t>
            </a:r>
            <a:endParaRPr lang="fr-FR" sz="1100">
              <a:solidFill>
                <a:prstClr val="black"/>
              </a:solidFill>
              <a:latin typeface="Delivery"/>
            </a:endParaRPr>
          </a:p>
          <a:p>
            <a:pPr marL="171390" indent="-171390" defTabSz="914081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>
                <a:solidFill>
                  <a:prstClr val="black"/>
                </a:solidFill>
                <a:latin typeface="Delivery"/>
              </a:rPr>
              <a:t>Plantation d'arbres et autres activités environnementales</a:t>
            </a:r>
            <a:endParaRPr lang="en-US" sz="110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942C23C-3936-4639-B858-D8E781D6E8AC}"/>
              </a:ext>
            </a:extLst>
          </p:cNvPr>
          <p:cNvSpPr/>
          <p:nvPr/>
        </p:nvSpPr>
        <p:spPr>
          <a:xfrm>
            <a:off x="7077435" y="3277251"/>
            <a:ext cx="1849661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95" indent="-171395" defTabSz="914103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latin typeface="Delivery"/>
              </a:rPr>
              <a:t>Etendre notre portefeuille de service pour inclure l’option de décarbonisation</a:t>
            </a:r>
          </a:p>
          <a:p>
            <a:pPr marL="171395" indent="-171395" defTabSz="914103">
              <a:buClr>
                <a:srgbClr val="D40511"/>
              </a:buClr>
              <a:buFont typeface="Wingdings" panose="05000000000000000000" pitchFamily="2" charset="2"/>
              <a:buChar char="§"/>
              <a:defRPr/>
            </a:pPr>
            <a:r>
              <a:rPr lang="fr-FR" sz="1100" dirty="0">
                <a:latin typeface="Delivery"/>
              </a:rPr>
              <a:t>Utiliser nos rapports carbones pour donner davantage de transparence</a:t>
            </a:r>
          </a:p>
        </p:txBody>
      </p:sp>
      <p:sp>
        <p:nvSpPr>
          <p:cNvPr id="4" name="Rechteck 67">
            <a:extLst>
              <a:ext uri="{FF2B5EF4-FFF2-40B4-BE49-F238E27FC236}">
                <a16:creationId xmlns:a16="http://schemas.microsoft.com/office/drawing/2014/main" id="{C1F6E8CE-8284-45DF-A142-00044F52F209}"/>
              </a:ext>
            </a:extLst>
          </p:cNvPr>
          <p:cNvSpPr/>
          <p:nvPr/>
        </p:nvSpPr>
        <p:spPr>
          <a:xfrm>
            <a:off x="-7883" y="69980"/>
            <a:ext cx="4238954" cy="622608"/>
          </a:xfrm>
          <a:prstGeom prst="rect">
            <a:avLst/>
          </a:prstGeom>
          <a:solidFill>
            <a:srgbClr val="007C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7912" tIns="0" rIns="0" bIns="0" rtlCol="0" anchor="ctr" anchorCtr="0">
            <a:noAutofit/>
          </a:bodyPr>
          <a:lstStyle/>
          <a:p>
            <a:pPr defTabSz="685544"/>
            <a:endParaRPr lang="en-US" sz="1799">
              <a:solidFill>
                <a:prstClr val="white"/>
              </a:solidFill>
              <a:latin typeface="Delivery"/>
            </a:endParaRPr>
          </a:p>
        </p:txBody>
      </p:sp>
      <p:pic>
        <p:nvPicPr>
          <p:cNvPr id="5" name="Graphic 30">
            <a:extLst>
              <a:ext uri="{FF2B5EF4-FFF2-40B4-BE49-F238E27FC236}">
                <a16:creationId xmlns:a16="http://schemas.microsoft.com/office/drawing/2014/main" id="{0E0B6C06-8B27-4F3C-8DFF-CC72ED7E390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44587" y="54598"/>
            <a:ext cx="622608" cy="622608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51F58909-2FE0-4900-B58C-A32555322455}"/>
              </a:ext>
            </a:extLst>
          </p:cNvPr>
          <p:cNvSpPr txBox="1">
            <a:spLocks/>
          </p:cNvSpPr>
          <p:nvPr/>
        </p:nvSpPr>
        <p:spPr>
          <a:xfrm>
            <a:off x="246591" y="61338"/>
            <a:ext cx="4475219" cy="493798"/>
          </a:xfrm>
          <a:prstGeom prst="rect">
            <a:avLst/>
          </a:prstGeom>
        </p:spPr>
        <p:txBody>
          <a:bodyPr/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560"/>
            <a:r>
              <a:rPr lang="fr-FR" sz="1799" dirty="0">
                <a:solidFill>
                  <a:prstClr val="white"/>
                </a:solidFill>
                <a:latin typeface="Delivery"/>
              </a:rPr>
              <a:t>Exemples d'axes d'amélioration environnementale express</a:t>
            </a:r>
            <a:endParaRPr lang="en-IN" sz="1799" dirty="0">
              <a:solidFill>
                <a:prstClr val="white"/>
              </a:solidFill>
              <a:latin typeface="Delivery"/>
            </a:endParaRPr>
          </a:p>
        </p:txBody>
      </p:sp>
    </p:spTree>
    <p:extLst>
      <p:ext uri="{BB962C8B-B14F-4D97-AF65-F5344CB8AC3E}">
        <p14:creationId xmlns:p14="http://schemas.microsoft.com/office/powerpoint/2010/main" val="25278743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 descr="Une image contenant ciel, plein air, nuage, eau&#10;&#10;Description générée automatiquement">
            <a:extLst>
              <a:ext uri="{FF2B5EF4-FFF2-40B4-BE49-F238E27FC236}">
                <a16:creationId xmlns:a16="http://schemas.microsoft.com/office/drawing/2014/main" id="{865C9BC9-A2A4-2C9B-3944-78093638DF0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19" b="32943"/>
          <a:stretch/>
        </p:blipFill>
        <p:spPr>
          <a:xfrm>
            <a:off x="-11663" y="0"/>
            <a:ext cx="9155663" cy="2855241"/>
          </a:xfrm>
          <a:prstGeom prst="rect">
            <a:avLst/>
          </a:prstGeom>
        </p:spPr>
      </p:pic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E31037FD-9086-D678-B2E9-6769F198F1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MERCI</a:t>
            </a:r>
          </a:p>
        </p:txBody>
      </p:sp>
    </p:spTree>
    <p:extLst>
      <p:ext uri="{BB962C8B-B14F-4D97-AF65-F5344CB8AC3E}">
        <p14:creationId xmlns:p14="http://schemas.microsoft.com/office/powerpoint/2010/main" val="3791946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141250A1-8210-4029-83EA-BDACB81E28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Sommai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0780BCE-EE02-46F6-A7D2-75329336336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9692" y="2175415"/>
            <a:ext cx="1705928" cy="296158"/>
          </a:xfrm>
        </p:spPr>
        <p:txBody>
          <a:bodyPr/>
          <a:lstStyle/>
          <a:p>
            <a:r>
              <a:rPr lang="fr-FR" sz="2000" u="sng" dirty="0">
                <a:uFill>
                  <a:solidFill>
                    <a:srgbClr val="FFCC00"/>
                  </a:solidFill>
                </a:uFill>
                <a:hlinkClick r:id="rId2" action="ppaction://hlinksldjump" tooltip="L'ENTREPRISE 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HL Express</a:t>
            </a:r>
          </a:p>
          <a:p>
            <a:endParaRPr lang="fr-FR" dirty="0">
              <a:hlinkClick r:id="rId2" action="ppaction://hlinksldjump" tooltip="L'ENTREPRISE 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1A9EFB3-EF3D-405E-8211-ECFF6AEB32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20480" y="2178688"/>
            <a:ext cx="1928960" cy="296158"/>
          </a:xfrm>
        </p:spPr>
        <p:txBody>
          <a:bodyPr/>
          <a:lstStyle/>
          <a:p>
            <a:r>
              <a:rPr lang="fr-FR" sz="2000" u="sng" dirty="0">
                <a:uFill>
                  <a:solidFill>
                    <a:srgbClr val="FFCC00"/>
                  </a:solidFill>
                </a:uFill>
              </a:rPr>
              <a:t>LE GREEN CHEZ DHL</a:t>
            </a:r>
            <a:endParaRPr lang="fr-FR" u="sng" dirty="0">
              <a:uFill>
                <a:solidFill>
                  <a:srgbClr val="FFC000"/>
                </a:solidFill>
              </a:u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4BCA1317-1D3D-4A43-A5B8-22237871B95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318252" y="2156484"/>
            <a:ext cx="2386371" cy="355711"/>
          </a:xfrm>
        </p:spPr>
        <p:txBody>
          <a:bodyPr/>
          <a:lstStyle/>
          <a:p>
            <a:r>
              <a:rPr lang="fr-FR" sz="2000" u="sng" dirty="0">
                <a:uFill>
                  <a:solidFill>
                    <a:srgbClr val="FFCC00"/>
                  </a:solidFill>
                </a:uFill>
                <a:hlinkClick r:id="rId3" action="ppaction://hlinksldjump" tooltip="ENVIRONNEMENT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CONOMY SELECT CHEZ DHL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483C1B70-9049-4F3E-B295-91F126D58941}"/>
              </a:ext>
            </a:extLst>
          </p:cNvPr>
          <p:cNvSpPr/>
          <p:nvPr/>
        </p:nvSpPr>
        <p:spPr>
          <a:xfrm>
            <a:off x="292589" y="1721381"/>
            <a:ext cx="398446" cy="398446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fr-FR" sz="2400" b="1" dirty="0">
                <a:latin typeface="Delivery" panose="020F0503020204020204" pitchFamily="34" charset="0"/>
              </a:rPr>
              <a:t>1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CA77E39-A1DA-2701-A382-CF3626D49322}"/>
              </a:ext>
            </a:extLst>
          </p:cNvPr>
          <p:cNvSpPr/>
          <p:nvPr/>
        </p:nvSpPr>
        <p:spPr>
          <a:xfrm>
            <a:off x="292589" y="4343400"/>
            <a:ext cx="8644242" cy="660736"/>
          </a:xfrm>
          <a:prstGeom prst="rect">
            <a:avLst/>
          </a:prstGeom>
          <a:solidFill>
            <a:srgbClr val="FFC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9C00D2CC-C6D6-1997-02D1-0A4A2B7A8E15}"/>
              </a:ext>
            </a:extLst>
          </p:cNvPr>
          <p:cNvSpPr/>
          <p:nvPr/>
        </p:nvSpPr>
        <p:spPr>
          <a:xfrm>
            <a:off x="2378492" y="1721381"/>
            <a:ext cx="398446" cy="398446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fr-FR" sz="2400" b="1" dirty="0">
                <a:latin typeface="Delivery" panose="020F0503020204020204" pitchFamily="34" charset="0"/>
              </a:rPr>
              <a:t>2</a:t>
            </a: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ED9B138B-8002-1831-4D6E-F2B551044CA5}"/>
              </a:ext>
            </a:extLst>
          </p:cNvPr>
          <p:cNvSpPr/>
          <p:nvPr/>
        </p:nvSpPr>
        <p:spPr>
          <a:xfrm>
            <a:off x="5024358" y="1721381"/>
            <a:ext cx="398446" cy="398446"/>
          </a:xfrm>
          <a:prstGeom prst="ellipse">
            <a:avLst/>
          </a:prstGeom>
          <a:solidFill>
            <a:srgbClr val="D405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fr-FR" sz="2400" b="1" dirty="0">
                <a:latin typeface="Delivery" panose="020F0503020204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9757678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193DCDB-E3CA-4945-A803-250864CBC0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91440" tIns="45720" rIns="91440" bIns="45720" anchor="t"/>
          <a:lstStyle/>
          <a:p>
            <a:r>
              <a:rPr lang="fr-FR" dirty="0">
                <a:latin typeface="Delivery"/>
              </a:rPr>
              <a:t>DHL EXPRESS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012236C-800E-4F9C-8D35-B84A267F95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0430" y="2980239"/>
            <a:ext cx="4048027" cy="653415"/>
          </a:xfrm>
        </p:spPr>
        <p:txBody>
          <a:bodyPr/>
          <a:lstStyle/>
          <a:p>
            <a:r>
              <a:rPr lang="fr-FR"/>
              <a:t>PARTI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BE1C89F-D947-42E3-9D10-C39F43A0483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248475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F7991B6-7AA1-4612-A0A7-239602360BF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DPDHL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1031EC7-C760-462F-9173-0E9ECEA84D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Un groupe mondial </a:t>
            </a:r>
            <a:r>
              <a:rPr lang="fr-FR" b="0" dirty="0"/>
              <a:t>avec un portefeuille d’activités unique. </a:t>
            </a:r>
          </a:p>
          <a:p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A161FC9-A068-41A4-A59F-30BCD8E388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0201" y="4186295"/>
            <a:ext cx="1492925" cy="221805"/>
          </a:xfrm>
        </p:spPr>
        <p:txBody>
          <a:bodyPr anchor="ctr" anchorCtr="0"/>
          <a:lstStyle/>
          <a:p>
            <a:r>
              <a:rPr lang="fr-FR" i="1" u="sng" dirty="0"/>
              <a:t>LE</a:t>
            </a:r>
            <a:r>
              <a:rPr lang="fr-FR" dirty="0"/>
              <a:t> service postal pour l’Allemagne</a:t>
            </a:r>
          </a:p>
          <a:p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658C856E-344E-433B-9B91-8EB029E5303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028353" y="1761566"/>
            <a:ext cx="2980531" cy="798370"/>
          </a:xfrm>
        </p:spPr>
        <p:txBody>
          <a:bodyPr/>
          <a:lstStyle/>
          <a:p>
            <a:r>
              <a:rPr lang="fr-FR" dirty="0"/>
              <a:t>Deutsche Post </a:t>
            </a:r>
          </a:p>
          <a:p>
            <a:r>
              <a:rPr lang="fr-FR" dirty="0"/>
              <a:t>DHL Group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1521EB6F-9962-4E14-9DD2-CB7D236CBDD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Les marques : un groupe avec 2 piliers</a:t>
            </a:r>
          </a:p>
          <a:p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DBDB6CD6-CE1A-4AB8-9F04-5C843470389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Expres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0422B33-9509-4B8B-B28F-E190DAF2539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Global </a:t>
            </a:r>
            <a:r>
              <a:rPr lang="fr-FR" dirty="0" err="1"/>
              <a:t>Forwarding</a:t>
            </a:r>
            <a:endParaRPr lang="fr-FR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161E467-22E6-47B6-882B-05D8037DBEC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 err="1"/>
              <a:t>Parcel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4D0CDAFE-EF19-4EAC-A030-0C5C35B3B62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 err="1"/>
              <a:t>Supply</a:t>
            </a:r>
            <a:r>
              <a:rPr lang="fr-FR" dirty="0"/>
              <a:t> Chain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:a16="http://schemas.microsoft.com/office/drawing/2014/main" id="{24DDF546-E1C6-408E-8C69-7E48312274D3}"/>
              </a:ext>
            </a:extLst>
          </p:cNvPr>
          <p:cNvSpPr txBox="1">
            <a:spLocks/>
          </p:cNvSpPr>
          <p:nvPr/>
        </p:nvSpPr>
        <p:spPr>
          <a:xfrm>
            <a:off x="2217758" y="3987057"/>
            <a:ext cx="6094648" cy="322241"/>
          </a:xfrm>
          <a:prstGeom prst="rect">
            <a:avLst/>
          </a:prstGeom>
        </p:spPr>
        <p:txBody>
          <a:bodyPr/>
          <a:lstStyle>
            <a:lvl1pPr marL="0" indent="0" algn="ctr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100" b="1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i="1" u="sng" dirty="0">
                <a:solidFill>
                  <a:schemeClr val="bg1"/>
                </a:solidFill>
              </a:rPr>
              <a:t>LE</a:t>
            </a:r>
            <a:r>
              <a:rPr lang="fr-FR" dirty="0">
                <a:solidFill>
                  <a:schemeClr val="bg1"/>
                </a:solidFill>
              </a:rPr>
              <a:t> groupe de logistique pour le monde</a:t>
            </a:r>
          </a:p>
          <a:p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39EA5B2-386D-6F63-58F5-F76E632240EB}"/>
              </a:ext>
            </a:extLst>
          </p:cNvPr>
          <p:cNvSpPr/>
          <p:nvPr/>
        </p:nvSpPr>
        <p:spPr>
          <a:xfrm>
            <a:off x="0" y="4477336"/>
            <a:ext cx="8718211" cy="66775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>
            <a:noAutofit/>
          </a:bodyPr>
          <a:lstStyle/>
          <a:p>
            <a:pPr algn="l">
              <a:buClr>
                <a:schemeClr val="bg1"/>
              </a:buClr>
            </a:pPr>
            <a:endParaRPr lang="fr-FR" sz="1200" dirty="0" err="1">
              <a:solidFill>
                <a:schemeClr val="bg1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214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e 55">
            <a:extLst>
              <a:ext uri="{FF2B5EF4-FFF2-40B4-BE49-F238E27FC236}">
                <a16:creationId xmlns:a16="http://schemas.microsoft.com/office/drawing/2014/main" id="{6B54C2A8-809E-4866-99AB-F013F9577CE1}"/>
              </a:ext>
            </a:extLst>
          </p:cNvPr>
          <p:cNvGrpSpPr/>
          <p:nvPr/>
        </p:nvGrpSpPr>
        <p:grpSpPr>
          <a:xfrm>
            <a:off x="512386" y="2406809"/>
            <a:ext cx="239585" cy="317652"/>
            <a:chOff x="553035" y="2440508"/>
            <a:chExt cx="130455" cy="172963"/>
          </a:xfrm>
        </p:grpSpPr>
        <p:sp>
          <p:nvSpPr>
            <p:cNvPr id="42" name="Forme libre : forme 41">
              <a:extLst>
                <a:ext uri="{FF2B5EF4-FFF2-40B4-BE49-F238E27FC236}">
                  <a16:creationId xmlns:a16="http://schemas.microsoft.com/office/drawing/2014/main" id="{FA5A7B9F-8371-495E-B4CB-9028F323A261}"/>
                </a:ext>
              </a:extLst>
            </p:cNvPr>
            <p:cNvSpPr/>
            <p:nvPr/>
          </p:nvSpPr>
          <p:spPr>
            <a:xfrm>
              <a:off x="653067" y="2484826"/>
              <a:ext cx="17510" cy="8247"/>
            </a:xfrm>
            <a:custGeom>
              <a:avLst/>
              <a:gdLst>
                <a:gd name="connsiteX0" fmla="*/ 35 w 30234"/>
                <a:gd name="connsiteY0" fmla="*/ 7147 h 14256"/>
                <a:gd name="connsiteX1" fmla="*/ 7163 w 30234"/>
                <a:gd name="connsiteY1" fmla="*/ 14275 h 14256"/>
                <a:gd name="connsiteX2" fmla="*/ 23142 w 30234"/>
                <a:gd name="connsiteY2" fmla="*/ 14275 h 14256"/>
                <a:gd name="connsiteX3" fmla="*/ 30270 w 30234"/>
                <a:gd name="connsiteY3" fmla="*/ 7147 h 14256"/>
                <a:gd name="connsiteX4" fmla="*/ 23142 w 30234"/>
                <a:gd name="connsiteY4" fmla="*/ 19 h 14256"/>
                <a:gd name="connsiteX5" fmla="*/ 7163 w 30234"/>
                <a:gd name="connsiteY5" fmla="*/ 19 h 14256"/>
                <a:gd name="connsiteX6" fmla="*/ 35 w 30234"/>
                <a:gd name="connsiteY6" fmla="*/ 7147 h 14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234" h="14256">
                  <a:moveTo>
                    <a:pt x="35" y="7147"/>
                  </a:moveTo>
                  <a:cubicBezTo>
                    <a:pt x="35" y="11084"/>
                    <a:pt x="3226" y="14275"/>
                    <a:pt x="7163" y="14275"/>
                  </a:cubicBezTo>
                  <a:lnTo>
                    <a:pt x="23142" y="14275"/>
                  </a:lnTo>
                  <a:cubicBezTo>
                    <a:pt x="27078" y="14275"/>
                    <a:pt x="30270" y="11084"/>
                    <a:pt x="30270" y="7147"/>
                  </a:cubicBezTo>
                  <a:cubicBezTo>
                    <a:pt x="30270" y="3211"/>
                    <a:pt x="27078" y="19"/>
                    <a:pt x="23142" y="19"/>
                  </a:cubicBezTo>
                  <a:lnTo>
                    <a:pt x="7163" y="19"/>
                  </a:lnTo>
                  <a:cubicBezTo>
                    <a:pt x="3226" y="19"/>
                    <a:pt x="35" y="3211"/>
                    <a:pt x="35" y="7147"/>
                  </a:cubicBezTo>
                </a:path>
              </a:pathLst>
            </a:custGeom>
            <a:solidFill>
              <a:srgbClr val="D40511"/>
            </a:solidFill>
            <a:ln w="8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3" name="Forme libre : forme 42">
              <a:extLst>
                <a:ext uri="{FF2B5EF4-FFF2-40B4-BE49-F238E27FC236}">
                  <a16:creationId xmlns:a16="http://schemas.microsoft.com/office/drawing/2014/main" id="{669A80DD-843A-4FE0-97A5-3AA0BA8753A4}"/>
                </a:ext>
              </a:extLst>
            </p:cNvPr>
            <p:cNvSpPr/>
            <p:nvPr/>
          </p:nvSpPr>
          <p:spPr>
            <a:xfrm>
              <a:off x="589601" y="2484826"/>
              <a:ext cx="17510" cy="8247"/>
            </a:xfrm>
            <a:custGeom>
              <a:avLst/>
              <a:gdLst>
                <a:gd name="connsiteX0" fmla="*/ 22 w 30234"/>
                <a:gd name="connsiteY0" fmla="*/ 7147 h 14256"/>
                <a:gd name="connsiteX1" fmla="*/ 7150 w 30234"/>
                <a:gd name="connsiteY1" fmla="*/ 14275 h 14256"/>
                <a:gd name="connsiteX2" fmla="*/ 23129 w 30234"/>
                <a:gd name="connsiteY2" fmla="*/ 14275 h 14256"/>
                <a:gd name="connsiteX3" fmla="*/ 30257 w 30234"/>
                <a:gd name="connsiteY3" fmla="*/ 7147 h 14256"/>
                <a:gd name="connsiteX4" fmla="*/ 23129 w 30234"/>
                <a:gd name="connsiteY4" fmla="*/ 19 h 14256"/>
                <a:gd name="connsiteX5" fmla="*/ 7150 w 30234"/>
                <a:gd name="connsiteY5" fmla="*/ 19 h 14256"/>
                <a:gd name="connsiteX6" fmla="*/ 22 w 30234"/>
                <a:gd name="connsiteY6" fmla="*/ 7147 h 14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234" h="14256">
                  <a:moveTo>
                    <a:pt x="22" y="7147"/>
                  </a:moveTo>
                  <a:cubicBezTo>
                    <a:pt x="22" y="11084"/>
                    <a:pt x="3213" y="14275"/>
                    <a:pt x="7150" y="14275"/>
                  </a:cubicBezTo>
                  <a:lnTo>
                    <a:pt x="23129" y="14275"/>
                  </a:lnTo>
                  <a:cubicBezTo>
                    <a:pt x="27065" y="14275"/>
                    <a:pt x="30257" y="11084"/>
                    <a:pt x="30257" y="7147"/>
                  </a:cubicBezTo>
                  <a:cubicBezTo>
                    <a:pt x="30257" y="3211"/>
                    <a:pt x="27065" y="19"/>
                    <a:pt x="23129" y="19"/>
                  </a:cubicBezTo>
                  <a:lnTo>
                    <a:pt x="7150" y="19"/>
                  </a:lnTo>
                  <a:cubicBezTo>
                    <a:pt x="3213" y="19"/>
                    <a:pt x="22" y="3211"/>
                    <a:pt x="22" y="7147"/>
                  </a:cubicBezTo>
                </a:path>
              </a:pathLst>
            </a:custGeom>
            <a:solidFill>
              <a:srgbClr val="D40511"/>
            </a:solidFill>
            <a:ln w="8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4" name="Forme libre : forme 43">
              <a:extLst>
                <a:ext uri="{FF2B5EF4-FFF2-40B4-BE49-F238E27FC236}">
                  <a16:creationId xmlns:a16="http://schemas.microsoft.com/office/drawing/2014/main" id="{F181DB56-59D7-41B1-B1D6-A74732A0A9DA}"/>
                </a:ext>
              </a:extLst>
            </p:cNvPr>
            <p:cNvSpPr/>
            <p:nvPr/>
          </p:nvSpPr>
          <p:spPr>
            <a:xfrm>
              <a:off x="625948" y="2440508"/>
              <a:ext cx="8266" cy="17481"/>
            </a:xfrm>
            <a:custGeom>
              <a:avLst/>
              <a:gdLst>
                <a:gd name="connsiteX0" fmla="*/ 14304 w 14272"/>
                <a:gd name="connsiteY0" fmla="*/ 23103 h 30217"/>
                <a:gd name="connsiteX1" fmla="*/ 14304 w 14272"/>
                <a:gd name="connsiteY1" fmla="*/ 7141 h 30217"/>
                <a:gd name="connsiteX2" fmla="*/ 7176 w 14272"/>
                <a:gd name="connsiteY2" fmla="*/ 13 h 30217"/>
                <a:gd name="connsiteX3" fmla="*/ 31 w 14272"/>
                <a:gd name="connsiteY3" fmla="*/ 7141 h 30217"/>
                <a:gd name="connsiteX4" fmla="*/ 31 w 14272"/>
                <a:gd name="connsiteY4" fmla="*/ 23103 h 30217"/>
                <a:gd name="connsiteX5" fmla="*/ 7176 w 14272"/>
                <a:gd name="connsiteY5" fmla="*/ 30231 h 30217"/>
                <a:gd name="connsiteX6" fmla="*/ 14304 w 14272"/>
                <a:gd name="connsiteY6" fmla="*/ 23103 h 30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72" h="30217">
                  <a:moveTo>
                    <a:pt x="14304" y="23103"/>
                  </a:moveTo>
                  <a:lnTo>
                    <a:pt x="14304" y="7141"/>
                  </a:lnTo>
                  <a:cubicBezTo>
                    <a:pt x="14304" y="3204"/>
                    <a:pt x="11112" y="13"/>
                    <a:pt x="7176" y="13"/>
                  </a:cubicBezTo>
                  <a:cubicBezTo>
                    <a:pt x="3234" y="8"/>
                    <a:pt x="35" y="3200"/>
                    <a:pt x="31" y="7141"/>
                  </a:cubicBezTo>
                  <a:lnTo>
                    <a:pt x="31" y="23103"/>
                  </a:lnTo>
                  <a:cubicBezTo>
                    <a:pt x="35" y="27044"/>
                    <a:pt x="3234" y="30235"/>
                    <a:pt x="7176" y="30231"/>
                  </a:cubicBezTo>
                  <a:cubicBezTo>
                    <a:pt x="11112" y="30231"/>
                    <a:pt x="14304" y="27039"/>
                    <a:pt x="14304" y="23103"/>
                  </a:cubicBezTo>
                </a:path>
              </a:pathLst>
            </a:custGeom>
            <a:solidFill>
              <a:srgbClr val="D40511"/>
            </a:solidFill>
            <a:ln w="8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5" name="Forme libre : forme 44">
              <a:extLst>
                <a:ext uri="{FF2B5EF4-FFF2-40B4-BE49-F238E27FC236}">
                  <a16:creationId xmlns:a16="http://schemas.microsoft.com/office/drawing/2014/main" id="{DC1DE389-E13A-48B1-A0E1-F71D3DDA8AAF}"/>
                </a:ext>
              </a:extLst>
            </p:cNvPr>
            <p:cNvSpPr/>
            <p:nvPr/>
          </p:nvSpPr>
          <p:spPr>
            <a:xfrm>
              <a:off x="645113" y="2459152"/>
              <a:ext cx="14880" cy="14860"/>
            </a:xfrm>
            <a:custGeom>
              <a:avLst/>
              <a:gdLst>
                <a:gd name="connsiteX0" fmla="*/ 13531 w 25693"/>
                <a:gd name="connsiteY0" fmla="*/ 2108 h 25686"/>
                <a:gd name="connsiteX1" fmla="*/ 2127 w 25693"/>
                <a:gd name="connsiteY1" fmla="*/ 13522 h 25686"/>
                <a:gd name="connsiteX2" fmla="*/ 2118 w 25693"/>
                <a:gd name="connsiteY2" fmla="*/ 23602 h 25686"/>
                <a:gd name="connsiteX3" fmla="*/ 2127 w 25693"/>
                <a:gd name="connsiteY3" fmla="*/ 23611 h 25686"/>
                <a:gd name="connsiteX4" fmla="*/ 12225 w 25693"/>
                <a:gd name="connsiteY4" fmla="*/ 23611 h 25686"/>
                <a:gd name="connsiteX5" fmla="*/ 23638 w 25693"/>
                <a:gd name="connsiteY5" fmla="*/ 12206 h 25686"/>
                <a:gd name="connsiteX6" fmla="*/ 23634 w 25693"/>
                <a:gd name="connsiteY6" fmla="*/ 2104 h 25686"/>
                <a:gd name="connsiteX7" fmla="*/ 13531 w 25693"/>
                <a:gd name="connsiteY7" fmla="*/ 2108 h 25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693" h="25686">
                  <a:moveTo>
                    <a:pt x="13531" y="2108"/>
                  </a:moveTo>
                  <a:lnTo>
                    <a:pt x="2127" y="13522"/>
                  </a:lnTo>
                  <a:cubicBezTo>
                    <a:pt x="-659" y="16303"/>
                    <a:pt x="-664" y="20816"/>
                    <a:pt x="2118" y="23602"/>
                  </a:cubicBezTo>
                  <a:cubicBezTo>
                    <a:pt x="2121" y="23605"/>
                    <a:pt x="2124" y="23608"/>
                    <a:pt x="2127" y="23611"/>
                  </a:cubicBezTo>
                  <a:cubicBezTo>
                    <a:pt x="4916" y="26397"/>
                    <a:pt x="9435" y="26397"/>
                    <a:pt x="12225" y="23611"/>
                  </a:cubicBezTo>
                  <a:lnTo>
                    <a:pt x="23638" y="12206"/>
                  </a:lnTo>
                  <a:cubicBezTo>
                    <a:pt x="26426" y="9415"/>
                    <a:pt x="26425" y="4892"/>
                    <a:pt x="23634" y="2104"/>
                  </a:cubicBezTo>
                  <a:cubicBezTo>
                    <a:pt x="20843" y="-685"/>
                    <a:pt x="16320" y="-683"/>
                    <a:pt x="13531" y="2108"/>
                  </a:cubicBezTo>
                </a:path>
              </a:pathLst>
            </a:custGeom>
            <a:solidFill>
              <a:srgbClr val="D40511"/>
            </a:solidFill>
            <a:ln w="8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6" name="Forme libre : forme 45">
              <a:extLst>
                <a:ext uri="{FF2B5EF4-FFF2-40B4-BE49-F238E27FC236}">
                  <a16:creationId xmlns:a16="http://schemas.microsoft.com/office/drawing/2014/main" id="{158A2652-431B-43C7-9E51-9344B64C48D1}"/>
                </a:ext>
              </a:extLst>
            </p:cNvPr>
            <p:cNvSpPr/>
            <p:nvPr/>
          </p:nvSpPr>
          <p:spPr>
            <a:xfrm>
              <a:off x="600186" y="2459085"/>
              <a:ext cx="14900" cy="14853"/>
            </a:xfrm>
            <a:custGeom>
              <a:avLst/>
              <a:gdLst>
                <a:gd name="connsiteX0" fmla="*/ 18569 w 25727"/>
                <a:gd name="connsiteY0" fmla="*/ 25690 h 25674"/>
                <a:gd name="connsiteX1" fmla="*/ 25752 w 25727"/>
                <a:gd name="connsiteY1" fmla="*/ 18635 h 25674"/>
                <a:gd name="connsiteX2" fmla="*/ 23609 w 25727"/>
                <a:gd name="connsiteY2" fmla="*/ 13479 h 25674"/>
                <a:gd name="connsiteX3" fmla="*/ 12205 w 25727"/>
                <a:gd name="connsiteY3" fmla="*/ 2108 h 25674"/>
                <a:gd name="connsiteX4" fmla="*/ 2124 w 25727"/>
                <a:gd name="connsiteY4" fmla="*/ 2099 h 25674"/>
                <a:gd name="connsiteX5" fmla="*/ 2115 w 25727"/>
                <a:gd name="connsiteY5" fmla="*/ 2108 h 25674"/>
                <a:gd name="connsiteX6" fmla="*/ 2115 w 25727"/>
                <a:gd name="connsiteY6" fmla="*/ 12206 h 25674"/>
                <a:gd name="connsiteX7" fmla="*/ 13520 w 25727"/>
                <a:gd name="connsiteY7" fmla="*/ 23602 h 25674"/>
                <a:gd name="connsiteX8" fmla="*/ 18560 w 25727"/>
                <a:gd name="connsiteY8" fmla="*/ 25690 h 25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727" h="25674">
                  <a:moveTo>
                    <a:pt x="18569" y="25690"/>
                  </a:moveTo>
                  <a:cubicBezTo>
                    <a:pt x="22501" y="25725"/>
                    <a:pt x="25717" y="22567"/>
                    <a:pt x="25752" y="18635"/>
                  </a:cubicBezTo>
                  <a:cubicBezTo>
                    <a:pt x="25770" y="16696"/>
                    <a:pt x="24996" y="14834"/>
                    <a:pt x="23609" y="13479"/>
                  </a:cubicBezTo>
                  <a:lnTo>
                    <a:pt x="12205" y="2108"/>
                  </a:lnTo>
                  <a:cubicBezTo>
                    <a:pt x="9423" y="-678"/>
                    <a:pt x="4910" y="-682"/>
                    <a:pt x="2124" y="2099"/>
                  </a:cubicBezTo>
                  <a:cubicBezTo>
                    <a:pt x="2121" y="2102"/>
                    <a:pt x="2118" y="2105"/>
                    <a:pt x="2115" y="2108"/>
                  </a:cubicBezTo>
                  <a:cubicBezTo>
                    <a:pt x="-671" y="4897"/>
                    <a:pt x="-671" y="9416"/>
                    <a:pt x="2115" y="12206"/>
                  </a:cubicBezTo>
                  <a:lnTo>
                    <a:pt x="13520" y="23602"/>
                  </a:lnTo>
                  <a:cubicBezTo>
                    <a:pt x="14856" y="24940"/>
                    <a:pt x="16670" y="25691"/>
                    <a:pt x="18560" y="25690"/>
                  </a:cubicBezTo>
                </a:path>
              </a:pathLst>
            </a:custGeom>
            <a:solidFill>
              <a:srgbClr val="D40511"/>
            </a:solidFill>
            <a:ln w="8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47" name="Forme libre : forme 46">
              <a:extLst>
                <a:ext uri="{FF2B5EF4-FFF2-40B4-BE49-F238E27FC236}">
                  <a16:creationId xmlns:a16="http://schemas.microsoft.com/office/drawing/2014/main" id="{92BB347D-F985-4570-B777-A0CA48678ABB}"/>
                </a:ext>
              </a:extLst>
            </p:cNvPr>
            <p:cNvSpPr/>
            <p:nvPr/>
          </p:nvSpPr>
          <p:spPr>
            <a:xfrm>
              <a:off x="553035" y="2478125"/>
              <a:ext cx="130455" cy="135346"/>
            </a:xfrm>
            <a:custGeom>
              <a:avLst/>
              <a:gdLst>
                <a:gd name="connsiteX0" fmla="*/ 14280 w 225252"/>
                <a:gd name="connsiteY0" fmla="*/ 80698 h 233953"/>
                <a:gd name="connsiteX1" fmla="*/ 16 w 225252"/>
                <a:gd name="connsiteY1" fmla="*/ 94954 h 233953"/>
                <a:gd name="connsiteX2" fmla="*/ 16 w 225252"/>
                <a:gd name="connsiteY2" fmla="*/ 219694 h 233953"/>
                <a:gd name="connsiteX3" fmla="*/ 14280 w 225252"/>
                <a:gd name="connsiteY3" fmla="*/ 233976 h 233953"/>
                <a:gd name="connsiteX4" fmla="*/ 55580 w 225252"/>
                <a:gd name="connsiteY4" fmla="*/ 233976 h 233953"/>
                <a:gd name="connsiteX5" fmla="*/ 69845 w 225252"/>
                <a:gd name="connsiteY5" fmla="*/ 220713 h 233953"/>
                <a:gd name="connsiteX6" fmla="*/ 78678 w 225252"/>
                <a:gd name="connsiteY6" fmla="*/ 226016 h 233953"/>
                <a:gd name="connsiteX7" fmla="*/ 106554 w 225252"/>
                <a:gd name="connsiteY7" fmla="*/ 233747 h 233953"/>
                <a:gd name="connsiteX8" fmla="*/ 166802 w 225252"/>
                <a:gd name="connsiteY8" fmla="*/ 233747 h 233953"/>
                <a:gd name="connsiteX9" fmla="*/ 188017 w 225252"/>
                <a:gd name="connsiteY9" fmla="*/ 229504 h 233953"/>
                <a:gd name="connsiteX10" fmla="*/ 208866 w 225252"/>
                <a:gd name="connsiteY10" fmla="*/ 195951 h 233953"/>
                <a:gd name="connsiteX11" fmla="*/ 218133 w 225252"/>
                <a:gd name="connsiteY11" fmla="*/ 161109 h 233953"/>
                <a:gd name="connsiteX12" fmla="*/ 225261 w 225252"/>
                <a:gd name="connsiteY12" fmla="*/ 140565 h 233953"/>
                <a:gd name="connsiteX13" fmla="*/ 219414 w 225252"/>
                <a:gd name="connsiteY13" fmla="*/ 124340 h 233953"/>
                <a:gd name="connsiteX14" fmla="*/ 212948 w 225252"/>
                <a:gd name="connsiteY14" fmla="*/ 94462 h 233953"/>
                <a:gd name="connsiteX15" fmla="*/ 211098 w 225252"/>
                <a:gd name="connsiteY15" fmla="*/ 92892 h 233953"/>
                <a:gd name="connsiteX16" fmla="*/ 200151 w 225252"/>
                <a:gd name="connsiteY16" fmla="*/ 88047 h 233953"/>
                <a:gd name="connsiteX17" fmla="*/ 199837 w 225252"/>
                <a:gd name="connsiteY17" fmla="*/ 88047 h 233953"/>
                <a:gd name="connsiteX18" fmla="*/ 149492 w 225252"/>
                <a:gd name="connsiteY18" fmla="*/ 83804 h 233953"/>
                <a:gd name="connsiteX19" fmla="*/ 154396 w 225252"/>
                <a:gd name="connsiteY19" fmla="*/ 53417 h 233953"/>
                <a:gd name="connsiteX20" fmla="*/ 153013 w 225252"/>
                <a:gd name="connsiteY20" fmla="*/ 14679 h 233953"/>
                <a:gd name="connsiteX21" fmla="*/ 129991 w 225252"/>
                <a:gd name="connsiteY21" fmla="*/ 25 h 233953"/>
                <a:gd name="connsiteX22" fmla="*/ 129143 w 225252"/>
                <a:gd name="connsiteY22" fmla="*/ 25 h 233953"/>
                <a:gd name="connsiteX23" fmla="*/ 114446 w 225252"/>
                <a:gd name="connsiteY23" fmla="*/ 10683 h 233953"/>
                <a:gd name="connsiteX24" fmla="*/ 114233 w 225252"/>
                <a:gd name="connsiteY24" fmla="*/ 11701 h 233953"/>
                <a:gd name="connsiteX25" fmla="*/ 112095 w 225252"/>
                <a:gd name="connsiteY25" fmla="*/ 27102 h 233953"/>
                <a:gd name="connsiteX26" fmla="*/ 108098 w 225252"/>
                <a:gd name="connsiteY26" fmla="*/ 40434 h 233953"/>
                <a:gd name="connsiteX27" fmla="*/ 87308 w 225252"/>
                <a:gd name="connsiteY27" fmla="*/ 84093 h 233953"/>
                <a:gd name="connsiteX28" fmla="*/ 69853 w 225252"/>
                <a:gd name="connsiteY28" fmla="*/ 98349 h 233953"/>
                <a:gd name="connsiteX29" fmla="*/ 69853 w 225252"/>
                <a:gd name="connsiteY29" fmla="*/ 94954 h 233953"/>
                <a:gd name="connsiteX30" fmla="*/ 55597 w 225252"/>
                <a:gd name="connsiteY30" fmla="*/ 80698 h 233953"/>
                <a:gd name="connsiteX31" fmla="*/ 55589 w 225252"/>
                <a:gd name="connsiteY31" fmla="*/ 80698 h 233953"/>
                <a:gd name="connsiteX32" fmla="*/ 14280 w 225252"/>
                <a:gd name="connsiteY32" fmla="*/ 94954 h 233953"/>
                <a:gd name="connsiteX33" fmla="*/ 55580 w 225252"/>
                <a:gd name="connsiteY33" fmla="*/ 94954 h 233953"/>
                <a:gd name="connsiteX34" fmla="*/ 55580 w 225252"/>
                <a:gd name="connsiteY34" fmla="*/ 219694 h 233953"/>
                <a:gd name="connsiteX35" fmla="*/ 14280 w 225252"/>
                <a:gd name="connsiteY35" fmla="*/ 219694 h 233953"/>
                <a:gd name="connsiteX36" fmla="*/ 71330 w 225252"/>
                <a:gd name="connsiteY36" fmla="*/ 112681 h 233953"/>
                <a:gd name="connsiteX37" fmla="*/ 100181 w 225252"/>
                <a:gd name="connsiteY37" fmla="*/ 89880 h 233953"/>
                <a:gd name="connsiteX38" fmla="*/ 120801 w 225252"/>
                <a:gd name="connsiteY38" fmla="*/ 46340 h 233953"/>
                <a:gd name="connsiteX39" fmla="*/ 126020 w 225252"/>
                <a:gd name="connsiteY39" fmla="*/ 28842 h 233953"/>
                <a:gd name="connsiteX40" fmla="*/ 128218 w 225252"/>
                <a:gd name="connsiteY40" fmla="*/ 14416 h 233953"/>
                <a:gd name="connsiteX41" fmla="*/ 128591 w 225252"/>
                <a:gd name="connsiteY41" fmla="*/ 14213 h 233953"/>
                <a:gd name="connsiteX42" fmla="*/ 140819 w 225252"/>
                <a:gd name="connsiteY42" fmla="*/ 22206 h 233953"/>
                <a:gd name="connsiteX43" fmla="*/ 140819 w 225252"/>
                <a:gd name="connsiteY43" fmla="*/ 48979 h 233953"/>
                <a:gd name="connsiteX44" fmla="*/ 135728 w 225252"/>
                <a:gd name="connsiteY44" fmla="*/ 88030 h 233953"/>
                <a:gd name="connsiteX45" fmla="*/ 148405 w 225252"/>
                <a:gd name="connsiteY45" fmla="*/ 98060 h 233953"/>
                <a:gd name="connsiteX46" fmla="*/ 196884 w 225252"/>
                <a:gd name="connsiteY46" fmla="*/ 102023 h 233953"/>
                <a:gd name="connsiteX47" fmla="*/ 197173 w 225252"/>
                <a:gd name="connsiteY47" fmla="*/ 102023 h 233953"/>
                <a:gd name="connsiteX48" fmla="*/ 202442 w 225252"/>
                <a:gd name="connsiteY48" fmla="*/ 104246 h 233953"/>
                <a:gd name="connsiteX49" fmla="*/ 203359 w 225252"/>
                <a:gd name="connsiteY49" fmla="*/ 105010 h 233953"/>
                <a:gd name="connsiteX50" fmla="*/ 205056 w 225252"/>
                <a:gd name="connsiteY50" fmla="*/ 121608 h 233953"/>
                <a:gd name="connsiteX51" fmla="*/ 206303 w 225252"/>
                <a:gd name="connsiteY51" fmla="*/ 130764 h 233953"/>
                <a:gd name="connsiteX52" fmla="*/ 211132 w 225252"/>
                <a:gd name="connsiteY52" fmla="*/ 141193 h 233953"/>
                <a:gd name="connsiteX53" fmla="*/ 204708 w 225252"/>
                <a:gd name="connsiteY53" fmla="*/ 155084 h 233953"/>
                <a:gd name="connsiteX54" fmla="*/ 203775 w 225252"/>
                <a:gd name="connsiteY54" fmla="*/ 163638 h 233953"/>
                <a:gd name="connsiteX55" fmla="*/ 196893 w 225252"/>
                <a:gd name="connsiteY55" fmla="*/ 187576 h 233953"/>
                <a:gd name="connsiteX56" fmla="*/ 194390 w 225252"/>
                <a:gd name="connsiteY56" fmla="*/ 195680 h 233953"/>
                <a:gd name="connsiteX57" fmla="*/ 182510 w 225252"/>
                <a:gd name="connsiteY57" fmla="*/ 216512 h 233953"/>
                <a:gd name="connsiteX58" fmla="*/ 166819 w 225252"/>
                <a:gd name="connsiteY58" fmla="*/ 219491 h 233953"/>
                <a:gd name="connsiteX59" fmla="*/ 106444 w 225252"/>
                <a:gd name="connsiteY59" fmla="*/ 219491 h 233953"/>
                <a:gd name="connsiteX60" fmla="*/ 85925 w 225252"/>
                <a:gd name="connsiteY60" fmla="*/ 213788 h 233953"/>
                <a:gd name="connsiteX61" fmla="*/ 69853 w 225252"/>
                <a:gd name="connsiteY61" fmla="*/ 204148 h 233953"/>
                <a:gd name="connsiteX62" fmla="*/ 69853 w 225252"/>
                <a:gd name="connsiteY62" fmla="*/ 112919 h 233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225252" h="233953">
                  <a:moveTo>
                    <a:pt x="14280" y="80698"/>
                  </a:moveTo>
                  <a:cubicBezTo>
                    <a:pt x="6405" y="80698"/>
                    <a:pt x="20" y="87080"/>
                    <a:pt x="16" y="94954"/>
                  </a:cubicBezTo>
                  <a:lnTo>
                    <a:pt x="16" y="219694"/>
                  </a:lnTo>
                  <a:cubicBezTo>
                    <a:pt x="11" y="227577"/>
                    <a:pt x="6397" y="233971"/>
                    <a:pt x="14280" y="233976"/>
                  </a:cubicBezTo>
                  <a:lnTo>
                    <a:pt x="55580" y="233976"/>
                  </a:lnTo>
                  <a:cubicBezTo>
                    <a:pt x="63082" y="233990"/>
                    <a:pt x="69314" y="228195"/>
                    <a:pt x="69845" y="220713"/>
                  </a:cubicBezTo>
                  <a:lnTo>
                    <a:pt x="78678" y="226016"/>
                  </a:lnTo>
                  <a:cubicBezTo>
                    <a:pt x="87102" y="231062"/>
                    <a:pt x="96734" y="233733"/>
                    <a:pt x="106554" y="233747"/>
                  </a:cubicBezTo>
                  <a:lnTo>
                    <a:pt x="166802" y="233747"/>
                  </a:lnTo>
                  <a:cubicBezTo>
                    <a:pt x="174091" y="233811"/>
                    <a:pt x="181314" y="232367"/>
                    <a:pt x="188017" y="229504"/>
                  </a:cubicBezTo>
                  <a:cubicBezTo>
                    <a:pt x="202094" y="224742"/>
                    <a:pt x="210831" y="210682"/>
                    <a:pt x="208866" y="195951"/>
                  </a:cubicBezTo>
                  <a:cubicBezTo>
                    <a:pt x="218993" y="187453"/>
                    <a:pt x="222700" y="173515"/>
                    <a:pt x="218133" y="161109"/>
                  </a:cubicBezTo>
                  <a:cubicBezTo>
                    <a:pt x="222902" y="155340"/>
                    <a:pt x="225432" y="148047"/>
                    <a:pt x="225261" y="140565"/>
                  </a:cubicBezTo>
                  <a:cubicBezTo>
                    <a:pt x="224959" y="134697"/>
                    <a:pt x="222924" y="129051"/>
                    <a:pt x="219414" y="124340"/>
                  </a:cubicBezTo>
                  <a:cubicBezTo>
                    <a:pt x="223921" y="114028"/>
                    <a:pt x="221315" y="101988"/>
                    <a:pt x="212948" y="94462"/>
                  </a:cubicBezTo>
                  <a:cubicBezTo>
                    <a:pt x="212362" y="93919"/>
                    <a:pt x="211743" y="93401"/>
                    <a:pt x="211098" y="92892"/>
                  </a:cubicBezTo>
                  <a:cubicBezTo>
                    <a:pt x="207857" y="90480"/>
                    <a:pt x="204117" y="88824"/>
                    <a:pt x="200151" y="88047"/>
                  </a:cubicBezTo>
                  <a:lnTo>
                    <a:pt x="199837" y="88047"/>
                  </a:lnTo>
                  <a:cubicBezTo>
                    <a:pt x="183282" y="84649"/>
                    <a:pt x="166382" y="83225"/>
                    <a:pt x="149492" y="83804"/>
                  </a:cubicBezTo>
                  <a:cubicBezTo>
                    <a:pt x="148771" y="73433"/>
                    <a:pt x="150450" y="63035"/>
                    <a:pt x="154396" y="53417"/>
                  </a:cubicBezTo>
                  <a:cubicBezTo>
                    <a:pt x="159792" y="40955"/>
                    <a:pt x="159283" y="26725"/>
                    <a:pt x="153013" y="14679"/>
                  </a:cubicBezTo>
                  <a:cubicBezTo>
                    <a:pt x="147893" y="6621"/>
                    <a:pt x="139460" y="1252"/>
                    <a:pt x="129991" y="25"/>
                  </a:cubicBezTo>
                  <a:lnTo>
                    <a:pt x="129143" y="25"/>
                  </a:lnTo>
                  <a:cubicBezTo>
                    <a:pt x="122419" y="-86"/>
                    <a:pt x="116430" y="4257"/>
                    <a:pt x="114446" y="10683"/>
                  </a:cubicBezTo>
                  <a:cubicBezTo>
                    <a:pt x="114346" y="11015"/>
                    <a:pt x="114275" y="11356"/>
                    <a:pt x="114233" y="11701"/>
                  </a:cubicBezTo>
                  <a:lnTo>
                    <a:pt x="112095" y="27102"/>
                  </a:lnTo>
                  <a:cubicBezTo>
                    <a:pt x="111448" y="31723"/>
                    <a:pt x="110099" y="36219"/>
                    <a:pt x="108098" y="40434"/>
                  </a:cubicBezTo>
                  <a:lnTo>
                    <a:pt x="87308" y="84093"/>
                  </a:lnTo>
                  <a:cubicBezTo>
                    <a:pt x="84146" y="91394"/>
                    <a:pt x="77639" y="96709"/>
                    <a:pt x="69853" y="98349"/>
                  </a:cubicBezTo>
                  <a:lnTo>
                    <a:pt x="69853" y="94954"/>
                  </a:lnTo>
                  <a:cubicBezTo>
                    <a:pt x="69853" y="87081"/>
                    <a:pt x="63471" y="80698"/>
                    <a:pt x="55597" y="80698"/>
                  </a:cubicBezTo>
                  <a:cubicBezTo>
                    <a:pt x="55594" y="80698"/>
                    <a:pt x="55591" y="80698"/>
                    <a:pt x="55589" y="80698"/>
                  </a:cubicBezTo>
                  <a:close/>
                  <a:moveTo>
                    <a:pt x="14280" y="94954"/>
                  </a:moveTo>
                  <a:lnTo>
                    <a:pt x="55580" y="94954"/>
                  </a:lnTo>
                  <a:lnTo>
                    <a:pt x="55580" y="219694"/>
                  </a:lnTo>
                  <a:lnTo>
                    <a:pt x="14280" y="219694"/>
                  </a:lnTo>
                  <a:close/>
                  <a:moveTo>
                    <a:pt x="71330" y="112681"/>
                  </a:moveTo>
                  <a:cubicBezTo>
                    <a:pt x="84184" y="110450"/>
                    <a:pt x="95040" y="101871"/>
                    <a:pt x="100181" y="89880"/>
                  </a:cubicBezTo>
                  <a:lnTo>
                    <a:pt x="120801" y="46340"/>
                  </a:lnTo>
                  <a:cubicBezTo>
                    <a:pt x="123428" y="40809"/>
                    <a:pt x="125188" y="34908"/>
                    <a:pt x="126020" y="28842"/>
                  </a:cubicBezTo>
                  <a:lnTo>
                    <a:pt x="128218" y="14416"/>
                  </a:lnTo>
                  <a:cubicBezTo>
                    <a:pt x="128320" y="14313"/>
                    <a:pt x="128450" y="14242"/>
                    <a:pt x="128591" y="14213"/>
                  </a:cubicBezTo>
                  <a:cubicBezTo>
                    <a:pt x="133606" y="15048"/>
                    <a:pt x="138042" y="17947"/>
                    <a:pt x="140819" y="22206"/>
                  </a:cubicBezTo>
                  <a:cubicBezTo>
                    <a:pt x="144667" y="30716"/>
                    <a:pt x="144667" y="40469"/>
                    <a:pt x="140819" y="48979"/>
                  </a:cubicBezTo>
                  <a:cubicBezTo>
                    <a:pt x="135792" y="61341"/>
                    <a:pt x="134039" y="74792"/>
                    <a:pt x="135728" y="88030"/>
                  </a:cubicBezTo>
                  <a:cubicBezTo>
                    <a:pt x="137074" y="93935"/>
                    <a:pt x="142348" y="98108"/>
                    <a:pt x="148405" y="98060"/>
                  </a:cubicBezTo>
                  <a:cubicBezTo>
                    <a:pt x="164665" y="97457"/>
                    <a:pt x="180939" y="98788"/>
                    <a:pt x="196884" y="102023"/>
                  </a:cubicBezTo>
                  <a:lnTo>
                    <a:pt x="197173" y="102023"/>
                  </a:lnTo>
                  <a:cubicBezTo>
                    <a:pt x="199072" y="102367"/>
                    <a:pt x="200871" y="103126"/>
                    <a:pt x="202442" y="104246"/>
                  </a:cubicBezTo>
                  <a:lnTo>
                    <a:pt x="203359" y="105010"/>
                  </a:lnTo>
                  <a:cubicBezTo>
                    <a:pt x="207936" y="109369"/>
                    <a:pt x="208656" y="116412"/>
                    <a:pt x="205056" y="121608"/>
                  </a:cubicBezTo>
                  <a:cubicBezTo>
                    <a:pt x="203173" y="124553"/>
                    <a:pt x="203701" y="128429"/>
                    <a:pt x="206303" y="130764"/>
                  </a:cubicBezTo>
                  <a:cubicBezTo>
                    <a:pt x="209083" y="133569"/>
                    <a:pt x="210791" y="137259"/>
                    <a:pt x="211132" y="141193"/>
                  </a:cubicBezTo>
                  <a:cubicBezTo>
                    <a:pt x="210960" y="146502"/>
                    <a:pt x="208642" y="151515"/>
                    <a:pt x="204708" y="155084"/>
                  </a:cubicBezTo>
                  <a:cubicBezTo>
                    <a:pt x="202511" y="157402"/>
                    <a:pt x="202130" y="160900"/>
                    <a:pt x="203775" y="163638"/>
                  </a:cubicBezTo>
                  <a:cubicBezTo>
                    <a:pt x="208364" y="172162"/>
                    <a:pt x="205308" y="182791"/>
                    <a:pt x="196893" y="187576"/>
                  </a:cubicBezTo>
                  <a:cubicBezTo>
                    <a:pt x="194400" y="189455"/>
                    <a:pt x="193391" y="192722"/>
                    <a:pt x="194390" y="195680"/>
                  </a:cubicBezTo>
                  <a:cubicBezTo>
                    <a:pt x="195153" y="197962"/>
                    <a:pt x="198183" y="209647"/>
                    <a:pt x="182510" y="216512"/>
                  </a:cubicBezTo>
                  <a:cubicBezTo>
                    <a:pt x="177545" y="218592"/>
                    <a:pt x="172200" y="219607"/>
                    <a:pt x="166819" y="219491"/>
                  </a:cubicBezTo>
                  <a:lnTo>
                    <a:pt x="106444" y="219491"/>
                  </a:lnTo>
                  <a:cubicBezTo>
                    <a:pt x="99215" y="219477"/>
                    <a:pt x="92125" y="217506"/>
                    <a:pt x="85925" y="213788"/>
                  </a:cubicBezTo>
                  <a:lnTo>
                    <a:pt x="69853" y="204148"/>
                  </a:lnTo>
                  <a:lnTo>
                    <a:pt x="69853" y="112919"/>
                  </a:lnTo>
                  <a:close/>
                </a:path>
              </a:pathLst>
            </a:custGeom>
            <a:solidFill>
              <a:srgbClr val="D40511"/>
            </a:solidFill>
            <a:ln w="8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48" name="Forme libre : forme 47">
              <a:extLst>
                <a:ext uri="{FF2B5EF4-FFF2-40B4-BE49-F238E27FC236}">
                  <a16:creationId xmlns:a16="http://schemas.microsoft.com/office/drawing/2014/main" id="{C6B7AAD3-FC8B-499D-B4B2-846327028EC3}"/>
                </a:ext>
              </a:extLst>
            </p:cNvPr>
            <p:cNvSpPr/>
            <p:nvPr/>
          </p:nvSpPr>
          <p:spPr>
            <a:xfrm>
              <a:off x="568208" y="2584050"/>
              <a:ext cx="10064" cy="10053"/>
            </a:xfrm>
            <a:custGeom>
              <a:avLst/>
              <a:gdLst>
                <a:gd name="connsiteX0" fmla="*/ 8708 w 17378"/>
                <a:gd name="connsiteY0" fmla="*/ 39 h 17378"/>
                <a:gd name="connsiteX1" fmla="*/ 17397 w 17378"/>
                <a:gd name="connsiteY1" fmla="*/ 8729 h 17378"/>
                <a:gd name="connsiteX2" fmla="*/ 8708 w 17378"/>
                <a:gd name="connsiteY2" fmla="*/ 17418 h 17378"/>
                <a:gd name="connsiteX3" fmla="*/ 18 w 17378"/>
                <a:gd name="connsiteY3" fmla="*/ 8729 h 17378"/>
                <a:gd name="connsiteX4" fmla="*/ 8708 w 17378"/>
                <a:gd name="connsiteY4" fmla="*/ 39 h 17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78" h="17378">
                  <a:moveTo>
                    <a:pt x="8708" y="39"/>
                  </a:moveTo>
                  <a:cubicBezTo>
                    <a:pt x="13507" y="39"/>
                    <a:pt x="17397" y="3930"/>
                    <a:pt x="17397" y="8729"/>
                  </a:cubicBezTo>
                  <a:cubicBezTo>
                    <a:pt x="17397" y="13528"/>
                    <a:pt x="13507" y="17418"/>
                    <a:pt x="8708" y="17418"/>
                  </a:cubicBezTo>
                  <a:cubicBezTo>
                    <a:pt x="3909" y="17418"/>
                    <a:pt x="18" y="13528"/>
                    <a:pt x="18" y="8729"/>
                  </a:cubicBezTo>
                  <a:cubicBezTo>
                    <a:pt x="23" y="3931"/>
                    <a:pt x="3911" y="44"/>
                    <a:pt x="8708" y="39"/>
                  </a:cubicBezTo>
                </a:path>
              </a:pathLst>
            </a:custGeom>
            <a:solidFill>
              <a:srgbClr val="D40511"/>
            </a:solidFill>
            <a:ln w="8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</p:grp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D0A327A-71C8-40C5-B720-C00C49625A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Notre réseau </a:t>
            </a:r>
            <a:r>
              <a:rPr lang="fr-FR" u="sng" dirty="0"/>
              <a:t>européen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D6BBC38-1C87-4603-BC54-612C7608DD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0468" y="3061426"/>
            <a:ext cx="1946134" cy="298707"/>
          </a:xfrm>
        </p:spPr>
        <p:txBody>
          <a:bodyPr/>
          <a:lstStyle/>
          <a:p>
            <a:r>
              <a:rPr lang="fr-FR" dirty="0"/>
              <a:t>96% </a:t>
            </a:r>
            <a:r>
              <a:rPr lang="fr-FR" sz="1050" b="0" dirty="0"/>
              <a:t>DE PERFORMANCE CONCERNANT LES DELAIS DE LIVRAISON</a:t>
            </a:r>
            <a:endParaRPr lang="fr-FR" b="0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68911A48-7B27-4B3B-997B-3A9EAED8D6D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89641" y="2300576"/>
            <a:ext cx="1463530" cy="298707"/>
          </a:xfrm>
        </p:spPr>
        <p:txBody>
          <a:bodyPr/>
          <a:lstStyle/>
          <a:p>
            <a:r>
              <a:rPr lang="fr-FR" dirty="0"/>
              <a:t>430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162DF4A-8906-4DCA-AC66-21E60BBE781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07901" y="3058278"/>
            <a:ext cx="2545388" cy="660052"/>
          </a:xfrm>
        </p:spPr>
        <p:txBody>
          <a:bodyPr/>
          <a:lstStyle/>
          <a:p>
            <a:r>
              <a:rPr lang="fr-FR" dirty="0"/>
              <a:t>Principaux Hubs régionaux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159B9EEF-B4DE-4EC6-9E54-96F68F64D72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448286" y="2425754"/>
            <a:ext cx="1809769" cy="298707"/>
          </a:xfrm>
        </p:spPr>
        <p:txBody>
          <a:bodyPr/>
          <a:lstStyle/>
          <a:p>
            <a:r>
              <a:rPr lang="fr-FR" dirty="0"/>
              <a:t>CAMIONS / JOUR</a:t>
            </a:r>
          </a:p>
          <a:p>
            <a:endParaRPr lang="fr-FR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4CEDD64F-BEC4-491F-99D2-EAF2819359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12519" y="3696503"/>
            <a:ext cx="2435286" cy="747511"/>
          </a:xfrm>
        </p:spPr>
        <p:txBody>
          <a:bodyPr/>
          <a:lstStyle/>
          <a:p>
            <a:r>
              <a:rPr lang="fr-FR" dirty="0"/>
              <a:t>Amsterdam, Bruxelles, Cologne, Copenhague, East Midlands (UK), Francfort, Londres, Madrid, Malpensa (Italie), Vitoria (Espagne), Eindhoven (Pays-Bas) </a:t>
            </a:r>
          </a:p>
          <a:p>
            <a:endParaRPr lang="fr-FR" dirty="0"/>
          </a:p>
        </p:txBody>
      </p:sp>
      <p:sp>
        <p:nvSpPr>
          <p:cNvPr id="24" name="Espace réservé du texte 14">
            <a:extLst>
              <a:ext uri="{FF2B5EF4-FFF2-40B4-BE49-F238E27FC236}">
                <a16:creationId xmlns:a16="http://schemas.microsoft.com/office/drawing/2014/main" id="{212E9FF9-A247-439B-8EB9-959DD6F43FB8}"/>
              </a:ext>
            </a:extLst>
          </p:cNvPr>
          <p:cNvSpPr txBox="1">
            <a:spLocks/>
          </p:cNvSpPr>
          <p:nvPr/>
        </p:nvSpPr>
        <p:spPr>
          <a:xfrm>
            <a:off x="3312520" y="2425754"/>
            <a:ext cx="795200" cy="195356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ENVIRON</a:t>
            </a:r>
          </a:p>
        </p:txBody>
      </p:sp>
      <p:sp>
        <p:nvSpPr>
          <p:cNvPr id="25" name="Espace réservé du texte 8">
            <a:extLst>
              <a:ext uri="{FF2B5EF4-FFF2-40B4-BE49-F238E27FC236}">
                <a16:creationId xmlns:a16="http://schemas.microsoft.com/office/drawing/2014/main" id="{5F06A102-80A0-4612-999C-DF3F0CCE4D58}"/>
              </a:ext>
            </a:extLst>
          </p:cNvPr>
          <p:cNvSpPr txBox="1">
            <a:spLocks/>
          </p:cNvSpPr>
          <p:nvPr/>
        </p:nvSpPr>
        <p:spPr>
          <a:xfrm>
            <a:off x="1375899" y="2341049"/>
            <a:ext cx="1217928" cy="29870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200" b="1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48 600</a:t>
            </a:r>
          </a:p>
        </p:txBody>
      </p:sp>
      <p:sp>
        <p:nvSpPr>
          <p:cNvPr id="26" name="Espace réservé du texte 14">
            <a:extLst>
              <a:ext uri="{FF2B5EF4-FFF2-40B4-BE49-F238E27FC236}">
                <a16:creationId xmlns:a16="http://schemas.microsoft.com/office/drawing/2014/main" id="{F8A75782-B14E-4318-9CDB-781CEA02879B}"/>
              </a:ext>
            </a:extLst>
          </p:cNvPr>
          <p:cNvSpPr txBox="1">
            <a:spLocks/>
          </p:cNvSpPr>
          <p:nvPr/>
        </p:nvSpPr>
        <p:spPr>
          <a:xfrm>
            <a:off x="792620" y="2444400"/>
            <a:ext cx="814701" cy="195356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ENVIRON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:a16="http://schemas.microsoft.com/office/drawing/2014/main" id="{0C435205-118E-45DC-8EE7-E2A88D2C543E}"/>
              </a:ext>
            </a:extLst>
          </p:cNvPr>
          <p:cNvSpPr txBox="1">
            <a:spLocks/>
          </p:cNvSpPr>
          <p:nvPr/>
        </p:nvSpPr>
        <p:spPr>
          <a:xfrm>
            <a:off x="784057" y="2628789"/>
            <a:ext cx="1809769" cy="29870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POINTS DE SERVICE</a:t>
            </a:r>
          </a:p>
        </p:txBody>
      </p:sp>
      <p:sp>
        <p:nvSpPr>
          <p:cNvPr id="55" name="Espace réservé du texte 7">
            <a:extLst>
              <a:ext uri="{FF2B5EF4-FFF2-40B4-BE49-F238E27FC236}">
                <a16:creationId xmlns:a16="http://schemas.microsoft.com/office/drawing/2014/main" id="{07A33BC2-A9A1-47B1-8265-D49BFA9ABB6B}"/>
              </a:ext>
            </a:extLst>
          </p:cNvPr>
          <p:cNvSpPr txBox="1">
            <a:spLocks/>
          </p:cNvSpPr>
          <p:nvPr/>
        </p:nvSpPr>
        <p:spPr>
          <a:xfrm>
            <a:off x="363882" y="1339149"/>
            <a:ext cx="3841229" cy="60068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ts val="18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1" kern="1200">
                <a:solidFill>
                  <a:srgbClr val="D4051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Grâce à notre réseau, nous desservons plus de 50 pays en Europe dont 30 avec notre solution Economy Select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44C27C-8340-6544-0FC9-F28B2BD988C8}"/>
              </a:ext>
            </a:extLst>
          </p:cNvPr>
          <p:cNvSpPr/>
          <p:nvPr/>
        </p:nvSpPr>
        <p:spPr>
          <a:xfrm>
            <a:off x="0" y="4477336"/>
            <a:ext cx="8718211" cy="66775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>
            <a:noAutofit/>
          </a:bodyPr>
          <a:lstStyle/>
          <a:p>
            <a:pPr algn="l">
              <a:buClr>
                <a:schemeClr val="bg1"/>
              </a:buClr>
            </a:pPr>
            <a:endParaRPr lang="fr-FR" sz="1200" dirty="0" err="1">
              <a:solidFill>
                <a:schemeClr val="bg1"/>
              </a:solidFill>
              <a:latin typeface="Delivery" panose="020F0503020204020204" pitchFamily="34" charset="0"/>
            </a:endParaRPr>
          </a:p>
        </p:txBody>
      </p:sp>
      <p:graphicFrame>
        <p:nvGraphicFramePr>
          <p:cNvPr id="8" name="Objet 7">
            <a:extLst>
              <a:ext uri="{FF2B5EF4-FFF2-40B4-BE49-F238E27FC236}">
                <a16:creationId xmlns:a16="http://schemas.microsoft.com/office/drawing/2014/main" id="{7C85ACF6-B936-5644-5B27-E6A1B103C0B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93981114"/>
              </p:ext>
            </p:extLst>
          </p:nvPr>
        </p:nvGraphicFramePr>
        <p:xfrm>
          <a:off x="2982037" y="3058379"/>
          <a:ext cx="304800" cy="304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304603" imgH="304669" progId="Acrobat.Document.DC">
                  <p:embed/>
                </p:oleObj>
              </mc:Choice>
              <mc:Fallback>
                <p:oleObj name="Acrobat Document" r:id="rId2" imgW="304603" imgH="304669" progId="Acrobat.Document.DC">
                  <p:embed/>
                  <p:pic>
                    <p:nvPicPr>
                      <p:cNvPr id="8" name="Objet 7">
                        <a:extLst>
                          <a:ext uri="{FF2B5EF4-FFF2-40B4-BE49-F238E27FC236}">
                            <a16:creationId xmlns:a16="http://schemas.microsoft.com/office/drawing/2014/main" id="{7C85ACF6-B936-5644-5B27-E6A1B103C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982037" y="3058379"/>
                        <a:ext cx="304800" cy="304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t 2">
            <a:extLst>
              <a:ext uri="{FF2B5EF4-FFF2-40B4-BE49-F238E27FC236}">
                <a16:creationId xmlns:a16="http://schemas.microsoft.com/office/drawing/2014/main" id="{709B7E93-FB5B-1213-121A-499F14AC86F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72219354"/>
              </p:ext>
            </p:extLst>
          </p:nvPr>
        </p:nvGraphicFramePr>
        <p:xfrm>
          <a:off x="2982037" y="2378753"/>
          <a:ext cx="304800" cy="304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4" imgW="304603" imgH="304669" progId="Acrobat.Document.DC">
                  <p:embed/>
                </p:oleObj>
              </mc:Choice>
              <mc:Fallback>
                <p:oleObj name="Acrobat Document" r:id="rId4" imgW="304603" imgH="304669" progId="Acrobat.Document.DC">
                  <p:embed/>
                  <p:pic>
                    <p:nvPicPr>
                      <p:cNvPr id="3" name="Objet 2">
                        <a:extLst>
                          <a:ext uri="{FF2B5EF4-FFF2-40B4-BE49-F238E27FC236}">
                            <a16:creationId xmlns:a16="http://schemas.microsoft.com/office/drawing/2014/main" id="{709B7E93-FB5B-1213-121A-499F14AC86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982037" y="2378753"/>
                        <a:ext cx="304800" cy="304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 12" descr="Une image contenant cercle, Graphique, symbole, logo&#10;&#10;Description générée automatiquement">
            <a:extLst>
              <a:ext uri="{FF2B5EF4-FFF2-40B4-BE49-F238E27FC236}">
                <a16:creationId xmlns:a16="http://schemas.microsoft.com/office/drawing/2014/main" id="{3427CE69-13D5-FCC3-FA28-66461B16293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358" y="3028546"/>
            <a:ext cx="376232" cy="376232"/>
          </a:xfrm>
          <a:prstGeom prst="rect">
            <a:avLst/>
          </a:prstGeom>
        </p:spPr>
      </p:pic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BD0E43FC-2820-2B2C-C7BC-6C57D0D8FD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8361" y="1465411"/>
            <a:ext cx="2830260" cy="2518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81045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CD6F3A7-92B9-4B63-9B9D-695AFD1497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PARTIE 01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1F96814-1377-43A4-8A52-AB14564F3D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DHL Express Franc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BFC256F-E6AC-4F9F-BF7B-1174B15531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+47M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9BE260F5-9391-4E4A-ABE6-F614AD1C13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3%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E5031BE-E8FB-44A1-838D-E9D7EDEA4C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05521" y="1879825"/>
            <a:ext cx="1624223" cy="453541"/>
          </a:xfrm>
        </p:spPr>
        <p:txBody>
          <a:bodyPr/>
          <a:lstStyle/>
          <a:p>
            <a:r>
              <a:rPr lang="fr-FR" dirty="0"/>
              <a:t>2077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9FB6C11D-9842-4ACE-BCA6-091BCBF4DD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MILLIONS DE COLIS PAR AN</a:t>
            </a:r>
          </a:p>
          <a:p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71BB789-2A7B-4327-B479-EA136C1E66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sz="900" dirty="0"/>
              <a:t>DE PART DE MARCHÉ (EN VOLUME, LEADER EN FRANCE)</a:t>
            </a:r>
          </a:p>
          <a:p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CEC5705-990F-40B7-A16A-F1B64142532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ÉHICULES</a:t>
            </a:r>
          </a:p>
        </p:txBody>
      </p:sp>
      <p:pic>
        <p:nvPicPr>
          <p:cNvPr id="12" name="Graphique 11">
            <a:extLst>
              <a:ext uri="{FF2B5EF4-FFF2-40B4-BE49-F238E27FC236}">
                <a16:creationId xmlns:a16="http://schemas.microsoft.com/office/drawing/2014/main" id="{921F3E26-1877-4624-A5D6-A03D1EAE45AF}"/>
              </a:ext>
            </a:extLst>
          </p:cNvPr>
          <p:cNvPicPr preferRelativeResize="0"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94568" y="1286042"/>
            <a:ext cx="232611" cy="252000"/>
          </a:xfrm>
          <a:prstGeom prst="rect">
            <a:avLst/>
          </a:prstGeom>
        </p:spPr>
      </p:pic>
      <p:pic>
        <p:nvPicPr>
          <p:cNvPr id="13" name="Graphique 12">
            <a:extLst>
              <a:ext uri="{FF2B5EF4-FFF2-40B4-BE49-F238E27FC236}">
                <a16:creationId xmlns:a16="http://schemas.microsoft.com/office/drawing/2014/main" id="{80AD8F5C-16B3-446F-93CE-07D79FCE9BE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75727" y="1271308"/>
            <a:ext cx="274910" cy="288000"/>
          </a:xfrm>
          <a:prstGeom prst="rect">
            <a:avLst/>
          </a:prstGeom>
        </p:spPr>
      </p:pic>
      <p:pic>
        <p:nvPicPr>
          <p:cNvPr id="14" name="Graphique 13">
            <a:extLst>
              <a:ext uri="{FF2B5EF4-FFF2-40B4-BE49-F238E27FC236}">
                <a16:creationId xmlns:a16="http://schemas.microsoft.com/office/drawing/2014/main" id="{82834038-7674-4E40-88F2-8658ABE30E5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97179" y="1300543"/>
            <a:ext cx="286000" cy="234000"/>
          </a:xfrm>
          <a:prstGeom prst="rect">
            <a:avLst/>
          </a:prstGeom>
        </p:spPr>
      </p:pic>
      <p:grpSp>
        <p:nvGrpSpPr>
          <p:cNvPr id="25" name="Groupe 24">
            <a:extLst>
              <a:ext uri="{FF2B5EF4-FFF2-40B4-BE49-F238E27FC236}">
                <a16:creationId xmlns:a16="http://schemas.microsoft.com/office/drawing/2014/main" id="{4BCCBC87-314C-C6D0-A5A8-87CDA0A0F449}"/>
              </a:ext>
            </a:extLst>
          </p:cNvPr>
          <p:cNvGrpSpPr/>
          <p:nvPr/>
        </p:nvGrpSpPr>
        <p:grpSpPr>
          <a:xfrm>
            <a:off x="2195281" y="3556775"/>
            <a:ext cx="4666341" cy="488839"/>
            <a:chOff x="2195281" y="3703355"/>
            <a:chExt cx="4666341" cy="488839"/>
          </a:xfrm>
        </p:grpSpPr>
        <p:grpSp>
          <p:nvGrpSpPr>
            <p:cNvPr id="23" name="Groupe 22">
              <a:extLst>
                <a:ext uri="{FF2B5EF4-FFF2-40B4-BE49-F238E27FC236}">
                  <a16:creationId xmlns:a16="http://schemas.microsoft.com/office/drawing/2014/main" id="{61FB6CAF-F2BB-7BF7-FA08-1E7AE5806614}"/>
                </a:ext>
              </a:extLst>
            </p:cNvPr>
            <p:cNvGrpSpPr/>
            <p:nvPr/>
          </p:nvGrpSpPr>
          <p:grpSpPr>
            <a:xfrm>
              <a:off x="5470488" y="3714487"/>
              <a:ext cx="1391134" cy="466574"/>
              <a:chOff x="4088699" y="3608043"/>
              <a:chExt cx="1391134" cy="466574"/>
            </a:xfrm>
          </p:grpSpPr>
          <p:pic>
            <p:nvPicPr>
              <p:cNvPr id="17" name="Image 16">
                <a:extLst>
                  <a:ext uri="{FF2B5EF4-FFF2-40B4-BE49-F238E27FC236}">
                    <a16:creationId xmlns:a16="http://schemas.microsoft.com/office/drawing/2014/main" id="{8459225F-56FA-367E-766E-786756AE9C3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71421" t="5818" r="1557" b="7417"/>
              <a:stretch/>
            </p:blipFill>
            <p:spPr>
              <a:xfrm>
                <a:off x="4088699" y="3608043"/>
                <a:ext cx="462590" cy="450410"/>
              </a:xfrm>
              <a:prstGeom prst="rect">
                <a:avLst/>
              </a:prstGeom>
            </p:spPr>
          </p:pic>
          <p:sp>
            <p:nvSpPr>
              <p:cNvPr id="19" name="ZoneTexte 18">
                <a:extLst>
                  <a:ext uri="{FF2B5EF4-FFF2-40B4-BE49-F238E27FC236}">
                    <a16:creationId xmlns:a16="http://schemas.microsoft.com/office/drawing/2014/main" id="{1E706A6C-4B1B-7117-C556-786A74632AFA}"/>
                  </a:ext>
                </a:extLst>
              </p:cNvPr>
              <p:cNvSpPr txBox="1"/>
              <p:nvPr/>
            </p:nvSpPr>
            <p:spPr>
              <a:xfrm>
                <a:off x="4556265" y="3643736"/>
                <a:ext cx="923568" cy="430881"/>
              </a:xfrm>
              <a:prstGeom prst="rect">
                <a:avLst/>
              </a:prstGeom>
              <a:noFill/>
            </p:spPr>
            <p:txBody>
              <a:bodyPr wrap="square" lIns="121915" tIns="60957" rIns="121915" bIns="60957" rtlCol="0">
                <a:spAutoFit/>
              </a:bodyPr>
              <a:lstStyle/>
              <a:p>
                <a:pPr algn="ctr" defTabSz="914309"/>
                <a:r>
                  <a:rPr lang="fr-FR" sz="1000" b="1" cap="all" dirty="0">
                    <a:solidFill>
                      <a:schemeClr val="bg2">
                        <a:lumMod val="25000"/>
                      </a:schemeClr>
                    </a:solidFill>
                    <a:latin typeface="Delivery" panose="020F0503020204020204" pitchFamily="34" charset="0"/>
                    <a:cs typeface="Delivery Arabic" panose="020F0503020204020204" pitchFamily="34" charset="-78"/>
                  </a:rPr>
                  <a:t>FRANCE</a:t>
                </a:r>
              </a:p>
              <a:p>
                <a:pPr algn="ctr" defTabSz="914309"/>
                <a:r>
                  <a:rPr lang="fr-FR" sz="1000" b="1" cap="all" dirty="0">
                    <a:solidFill>
                      <a:schemeClr val="bg2">
                        <a:lumMod val="25000"/>
                      </a:schemeClr>
                    </a:solidFill>
                    <a:latin typeface="Delivery" panose="020F0503020204020204" pitchFamily="34" charset="0"/>
                    <a:cs typeface="Delivery Arabic" panose="020F0503020204020204" pitchFamily="34" charset="-78"/>
                  </a:rPr>
                  <a:t>2</a:t>
                </a:r>
                <a:r>
                  <a:rPr lang="fr-FR" sz="1000" b="1" cap="all" baseline="30000" dirty="0">
                    <a:solidFill>
                      <a:schemeClr val="bg2">
                        <a:lumMod val="25000"/>
                      </a:schemeClr>
                    </a:solidFill>
                    <a:latin typeface="Delivery" panose="020F0503020204020204" pitchFamily="34" charset="0"/>
                    <a:cs typeface="Delivery Arabic" panose="020F0503020204020204" pitchFamily="34" charset="-78"/>
                  </a:rPr>
                  <a:t>èMe</a:t>
                </a:r>
                <a:r>
                  <a:rPr lang="fr-FR" sz="1000" b="1" cap="all" dirty="0">
                    <a:solidFill>
                      <a:schemeClr val="bg2">
                        <a:lumMod val="25000"/>
                      </a:schemeClr>
                    </a:solidFill>
                    <a:latin typeface="Delivery" panose="020F0503020204020204" pitchFamily="34" charset="0"/>
                    <a:cs typeface="Delivery Arabic" panose="020F0503020204020204" pitchFamily="34" charset="-78"/>
                  </a:rPr>
                  <a:t>  place </a:t>
                </a:r>
                <a:endParaRPr lang="fr-FR" sz="1000" cap="all" baseline="30000" dirty="0">
                  <a:solidFill>
                    <a:schemeClr val="bg2">
                      <a:lumMod val="25000"/>
                    </a:schemeClr>
                  </a:solidFill>
                  <a:latin typeface="Delivery" panose="020F0503020204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20" name="Image 19">
              <a:extLst>
                <a:ext uri="{FF2B5EF4-FFF2-40B4-BE49-F238E27FC236}">
                  <a16:creationId xmlns:a16="http://schemas.microsoft.com/office/drawing/2014/main" id="{2A91B91F-256D-609F-40B1-09277EA21D7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5281" y="3706192"/>
              <a:ext cx="525214" cy="483165"/>
            </a:xfrm>
            <a:prstGeom prst="rect">
              <a:avLst/>
            </a:prstGeom>
          </p:spPr>
        </p:pic>
        <p:pic>
          <p:nvPicPr>
            <p:cNvPr id="21" name="Image 20">
              <a:extLst>
                <a:ext uri="{FF2B5EF4-FFF2-40B4-BE49-F238E27FC236}">
                  <a16:creationId xmlns:a16="http://schemas.microsoft.com/office/drawing/2014/main" id="{9E320BAC-6FF4-99FF-9DD9-7063BB0F34DF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29621" y="3703355"/>
              <a:ext cx="414596" cy="488839"/>
            </a:xfrm>
            <a:prstGeom prst="rect">
              <a:avLst/>
            </a:prstGeom>
          </p:spPr>
        </p:pic>
        <p:pic>
          <p:nvPicPr>
            <p:cNvPr id="22" name="Image 21">
              <a:extLst>
                <a:ext uri="{FF2B5EF4-FFF2-40B4-BE49-F238E27FC236}">
                  <a16:creationId xmlns:a16="http://schemas.microsoft.com/office/drawing/2014/main" id="{22C71246-6CC5-EECA-3FB3-EA1828581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53343" y="3749557"/>
              <a:ext cx="808018" cy="396434"/>
            </a:xfrm>
            <a:prstGeom prst="rect">
              <a:avLst/>
            </a:prstGeom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4468057C-82F7-FB0F-9539-D6F3E91472D0}"/>
              </a:ext>
            </a:extLst>
          </p:cNvPr>
          <p:cNvSpPr/>
          <p:nvPr/>
        </p:nvSpPr>
        <p:spPr>
          <a:xfrm>
            <a:off x="1994568" y="3253528"/>
            <a:ext cx="5041426" cy="1131023"/>
          </a:xfrm>
          <a:prstGeom prst="rect">
            <a:avLst/>
          </a:prstGeom>
          <a:noFill/>
          <a:ln w="63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10">
            <a:extLst>
              <a:ext uri="{FF2B5EF4-FFF2-40B4-BE49-F238E27FC236}">
                <a16:creationId xmlns:a16="http://schemas.microsoft.com/office/drawing/2014/main" id="{C7E6D2D5-7DF0-FFF0-D3CB-1E3D4C488E9F}"/>
              </a:ext>
            </a:extLst>
          </p:cNvPr>
          <p:cNvSpPr txBox="1">
            <a:spLocks/>
          </p:cNvSpPr>
          <p:nvPr/>
        </p:nvSpPr>
        <p:spPr>
          <a:xfrm>
            <a:off x="3645254" y="3139877"/>
            <a:ext cx="1766395" cy="23533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200" b="1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>
                <a:solidFill>
                  <a:srgbClr val="D40511"/>
                </a:solidFill>
              </a:rPr>
              <a:t>CERTIFICATIONS</a:t>
            </a:r>
          </a:p>
        </p:txBody>
      </p:sp>
      <p:grpSp>
        <p:nvGrpSpPr>
          <p:cNvPr id="28" name="Groupe 27">
            <a:extLst>
              <a:ext uri="{FF2B5EF4-FFF2-40B4-BE49-F238E27FC236}">
                <a16:creationId xmlns:a16="http://schemas.microsoft.com/office/drawing/2014/main" id="{2E5BFCE1-0767-D859-E521-E00191966DC7}"/>
              </a:ext>
            </a:extLst>
          </p:cNvPr>
          <p:cNvGrpSpPr/>
          <p:nvPr/>
        </p:nvGrpSpPr>
        <p:grpSpPr>
          <a:xfrm>
            <a:off x="5368142" y="3120531"/>
            <a:ext cx="295729" cy="285035"/>
            <a:chOff x="5354182" y="3274091"/>
            <a:chExt cx="295729" cy="28503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20B112A-C1E6-A15C-2C5E-CFF3C3255F6C}"/>
                </a:ext>
              </a:extLst>
            </p:cNvPr>
            <p:cNvSpPr/>
            <p:nvPr/>
          </p:nvSpPr>
          <p:spPr>
            <a:xfrm>
              <a:off x="5397689" y="3274091"/>
              <a:ext cx="252222" cy="2850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24" name="Graphique 23">
              <a:extLst>
                <a:ext uri="{FF2B5EF4-FFF2-40B4-BE49-F238E27FC236}">
                  <a16:creationId xmlns:a16="http://schemas.microsoft.com/office/drawing/2014/main" id="{BACED2EF-2572-50BA-FA5E-FC20EE133404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354182" y="3288705"/>
              <a:ext cx="232611" cy="252000"/>
            </a:xfrm>
            <a:prstGeom prst="rect">
              <a:avLst/>
            </a:prstGeom>
          </p:spPr>
        </p:pic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C38362C3-4C10-AC54-8CC0-0C83CDDFDB58}"/>
              </a:ext>
            </a:extLst>
          </p:cNvPr>
          <p:cNvSpPr/>
          <p:nvPr/>
        </p:nvSpPr>
        <p:spPr>
          <a:xfrm>
            <a:off x="0" y="4477336"/>
            <a:ext cx="8718211" cy="66775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9" tIns="72009" rIns="72009" bIns="72009" rtlCol="0" anchor="t">
            <a:noAutofit/>
          </a:bodyPr>
          <a:lstStyle/>
          <a:p>
            <a:pPr algn="l">
              <a:buClr>
                <a:schemeClr val="bg1"/>
              </a:buClr>
            </a:pPr>
            <a:endParaRPr lang="fr-FR" sz="1200" dirty="0" err="1">
              <a:solidFill>
                <a:schemeClr val="bg1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71546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193DCDB-E3CA-4945-A803-250864CBC0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86962" y="1279791"/>
            <a:ext cx="6753225" cy="653415"/>
          </a:xfrm>
        </p:spPr>
        <p:txBody>
          <a:bodyPr lIns="91440" tIns="45720" rIns="91440" bIns="45720" anchor="t"/>
          <a:lstStyle/>
          <a:p>
            <a:r>
              <a:rPr lang="fr-FR" dirty="0">
                <a:latin typeface="Delivery"/>
              </a:rPr>
              <a:t>ECONOMY SELECT CHEZ DHL EXPRESS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012236C-800E-4F9C-8D35-B84A267F95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0430" y="2980239"/>
            <a:ext cx="4048027" cy="653415"/>
          </a:xfrm>
        </p:spPr>
        <p:txBody>
          <a:bodyPr/>
          <a:lstStyle/>
          <a:p>
            <a:r>
              <a:rPr lang="fr-FR"/>
              <a:t>PARTI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BE1C89F-D947-42E3-9D10-C39F43A0483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0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EC293D4-E475-ABCF-7479-2110BD519C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fr-FR"/>
              <a:t>P.</a:t>
            </a:r>
            <a:fld id="{1E2D96DF-0525-4818-BFDA-D71EAED9008D}" type="slidenum">
              <a:rPr lang="fr-FR" smtClean="0"/>
              <a:pPr/>
              <a:t>7</a:t>
            </a:fld>
            <a:r>
              <a:rPr lang="fr-FR"/>
              <a:t> - DDI CONCURRENCE</a:t>
            </a:r>
          </a:p>
        </p:txBody>
      </p:sp>
    </p:spTree>
    <p:extLst>
      <p:ext uri="{BB962C8B-B14F-4D97-AF65-F5344CB8AC3E}">
        <p14:creationId xmlns:p14="http://schemas.microsoft.com/office/powerpoint/2010/main" val="3743756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62665E-C997-697D-CC6A-538F292F36AE}"/>
              </a:ext>
            </a:extLst>
          </p:cNvPr>
          <p:cNvSpPr/>
          <p:nvPr/>
        </p:nvSpPr>
        <p:spPr>
          <a:xfrm>
            <a:off x="0" y="1101005"/>
            <a:ext cx="5311896" cy="55485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 descr="Une image contenant ciel, plein air, nuage, eau&#10;&#10;Description générée automatiquement">
            <a:extLst>
              <a:ext uri="{FF2B5EF4-FFF2-40B4-BE49-F238E27FC236}">
                <a16:creationId xmlns:a16="http://schemas.microsoft.com/office/drawing/2014/main" id="{8AED5052-5E04-1BB8-8DFF-9ED7FDDF5C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10" r="51" b="214"/>
          <a:stretch/>
        </p:blipFill>
        <p:spPr>
          <a:xfrm>
            <a:off x="6171521" y="0"/>
            <a:ext cx="2972479" cy="5145088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971A66D-7009-7E70-2B98-19341762452A}"/>
              </a:ext>
            </a:extLst>
          </p:cNvPr>
          <p:cNvSpPr txBox="1">
            <a:spLocks/>
          </p:cNvSpPr>
          <p:nvPr/>
        </p:nvSpPr>
        <p:spPr>
          <a:xfrm>
            <a:off x="281001" y="554859"/>
            <a:ext cx="8581998" cy="399596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000" b="1" dirty="0">
                <a:solidFill>
                  <a:srgbClr val="D40511"/>
                </a:solidFill>
                <a:latin typeface="Delivery" panose="020F0503020204020204" pitchFamily="34" charset="0"/>
              </a:rPr>
              <a:t>Economy Select chez DHL Express France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129B40FE-C0A0-30EC-F552-99725962646A}"/>
              </a:ext>
            </a:extLst>
          </p:cNvPr>
          <p:cNvSpPr txBox="1"/>
          <p:nvPr/>
        </p:nvSpPr>
        <p:spPr>
          <a:xfrm>
            <a:off x="530491" y="1140621"/>
            <a:ext cx="48721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i="0" cap="all" dirty="0">
                <a:solidFill>
                  <a:schemeClr val="bg1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LA SOLUTION ÉCONOMIQUE DE DHL EXPRESS EST CONÇUE POUR VOS ENVOIS MOINS URGENTS ENTRE LA FRANCE ET L’EUROPE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9C8CCC-5B6F-C947-4A21-D301E3864F78}"/>
              </a:ext>
            </a:extLst>
          </p:cNvPr>
          <p:cNvSpPr/>
          <p:nvPr/>
        </p:nvSpPr>
        <p:spPr>
          <a:xfrm>
            <a:off x="280805" y="4552950"/>
            <a:ext cx="1424170" cy="438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49801AB-5E5D-F64F-3293-A50F85F42854}"/>
              </a:ext>
            </a:extLst>
          </p:cNvPr>
          <p:cNvSpPr txBox="1"/>
          <p:nvPr/>
        </p:nvSpPr>
        <p:spPr>
          <a:xfrm>
            <a:off x="280805" y="1962732"/>
            <a:ext cx="517229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Qu’est ce que la solution Economy Select de DHL Express France ? 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2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prestation </a:t>
            </a:r>
            <a:r>
              <a:rPr lang="fr-FR" sz="1200" b="1" dirty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"Porte-à-porte"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pour vos envois moins urgents.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2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 service fiable et économique </a:t>
            </a:r>
            <a:r>
              <a:rPr lang="fr-FR" sz="1200" b="1" dirty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ers toute l'Europe.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2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</a:t>
            </a:r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</a:t>
            </a:r>
            <a:r>
              <a:rPr lang="fr-FR" sz="1200" b="1" dirty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éseau intégré et sécurisé 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e l'enlèvement à la livraison.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2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es </a:t>
            </a:r>
            <a:r>
              <a:rPr lang="fr-FR" sz="1200" b="1" dirty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outils adaptés 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à la préparation, l'envoi et le suivi de votre colis.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2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</a:t>
            </a:r>
            <a:r>
              <a:rPr lang="fr-FR" sz="1200" b="1" dirty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seule facture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et </a:t>
            </a:r>
            <a:r>
              <a:rPr lang="fr-FR" sz="1200" b="1" dirty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 seul contact commercial 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ur vos expéditions.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2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</a:t>
            </a:r>
            <a:r>
              <a:rPr lang="fr-FR" sz="1200" b="1" dirty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tarification et un zoning simplifié, 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ur piloter facilement vos coûts de transport.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2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réparation et </a:t>
            </a:r>
            <a:r>
              <a:rPr lang="fr-FR" sz="1200" b="1" dirty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suivi de vos envois en ligne.</a:t>
            </a:r>
          </a:p>
        </p:txBody>
      </p:sp>
    </p:spTree>
    <p:extLst>
      <p:ext uri="{BB962C8B-B14F-4D97-AF65-F5344CB8AC3E}">
        <p14:creationId xmlns:p14="http://schemas.microsoft.com/office/powerpoint/2010/main" val="5447328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62665E-C997-697D-CC6A-538F292F36AE}"/>
              </a:ext>
            </a:extLst>
          </p:cNvPr>
          <p:cNvSpPr/>
          <p:nvPr/>
        </p:nvSpPr>
        <p:spPr>
          <a:xfrm>
            <a:off x="3072668" y="686225"/>
            <a:ext cx="4807307" cy="7660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971A66D-7009-7E70-2B98-19341762452A}"/>
              </a:ext>
            </a:extLst>
          </p:cNvPr>
          <p:cNvSpPr txBox="1">
            <a:spLocks/>
          </p:cNvSpPr>
          <p:nvPr/>
        </p:nvSpPr>
        <p:spPr>
          <a:xfrm>
            <a:off x="2972479" y="104382"/>
            <a:ext cx="8581998" cy="399596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r-FR" sz="2000" b="1" dirty="0">
                <a:solidFill>
                  <a:srgbClr val="D40511"/>
                </a:solidFill>
                <a:latin typeface="Delivery" panose="020F0503020204020204" pitchFamily="34" charset="0"/>
              </a:rPr>
              <a:t>Economy Select chez DHL Express France 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129B40FE-C0A0-30EC-F552-99725962646A}"/>
              </a:ext>
            </a:extLst>
          </p:cNvPr>
          <p:cNvSpPr txBox="1"/>
          <p:nvPr/>
        </p:nvSpPr>
        <p:spPr>
          <a:xfrm>
            <a:off x="3113010" y="733557"/>
            <a:ext cx="46795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cap="all" dirty="0">
                <a:solidFill>
                  <a:schemeClr val="bg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</a:t>
            </a:r>
            <a:r>
              <a:rPr lang="fr-FR" b="1" i="0" cap="all" dirty="0">
                <a:solidFill>
                  <a:schemeClr val="bg1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SOLUTION ADAPTÉE A VOS BESOINS </a:t>
            </a:r>
            <a:br>
              <a:rPr lang="fr-FR" b="1" i="0" cap="all" dirty="0">
                <a:solidFill>
                  <a:schemeClr val="bg1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r>
              <a:rPr lang="fr-FR" b="1" i="0" cap="all" dirty="0" err="1">
                <a:solidFill>
                  <a:srgbClr val="DD191B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Btob</a:t>
            </a:r>
            <a:endParaRPr lang="fr-FR" b="1" i="0" cap="all" dirty="0">
              <a:solidFill>
                <a:srgbClr val="DD191B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9C8CCC-5B6F-C947-4A21-D301E3864F78}"/>
              </a:ext>
            </a:extLst>
          </p:cNvPr>
          <p:cNvSpPr/>
          <p:nvPr/>
        </p:nvSpPr>
        <p:spPr>
          <a:xfrm>
            <a:off x="280805" y="4552950"/>
            <a:ext cx="1424170" cy="4381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249801AB-5E5D-F64F-3293-A50F85F42854}"/>
              </a:ext>
            </a:extLst>
          </p:cNvPr>
          <p:cNvSpPr txBox="1"/>
          <p:nvPr/>
        </p:nvSpPr>
        <p:spPr>
          <a:xfrm>
            <a:off x="3142307" y="2126973"/>
            <a:ext cx="5172294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Qu’est ce que vous offre notre solution Economy Select ? 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2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solution plus rapide qu’un messager européen classique, 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ur vos livraisons multi colis et demi-palette.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 réseau Premium, qui offre une qualité de service et fiabilité des délais </a:t>
            </a:r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à plus de 96%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. 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2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 réseau sécurisé, nous détenons les certifications </a:t>
            </a:r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APA et OEA.</a:t>
            </a:r>
          </a:p>
          <a:p>
            <a:pPr marL="228600" indent="-228600">
              <a:buFont typeface="+mj-lt"/>
              <a:buAutoNum type="arabicPeriod"/>
            </a:pPr>
            <a:endParaRPr lang="fr-FR" sz="1200" b="1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 service client en France et dans chaque pays</a:t>
            </a: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pour une meilleure proximité</a:t>
            </a:r>
            <a:b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</a:br>
            <a:endParaRPr lang="fr-FR" sz="1200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228600" indent="-228600">
              <a:buFont typeface="+mj-lt"/>
              <a:buAutoNum type="arabicPeriod"/>
            </a:pPr>
            <a:r>
              <a:rPr lang="fr-FR" sz="1200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Une image de Marque DHL, qui est </a:t>
            </a:r>
            <a:r>
              <a:rPr lang="fr-FR" sz="1200" b="1" dirty="0"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reconnu et présents dans 220 pays. </a:t>
            </a:r>
          </a:p>
        </p:txBody>
      </p:sp>
      <p:pic>
        <p:nvPicPr>
          <p:cNvPr id="15" name="Image 14" descr="Une image contenant bâtiment, Zone métropolitaine, Zone urbaine, Métropole&#10;&#10;Description générée automatiquement">
            <a:extLst>
              <a:ext uri="{FF2B5EF4-FFF2-40B4-BE49-F238E27FC236}">
                <a16:creationId xmlns:a16="http://schemas.microsoft.com/office/drawing/2014/main" id="{11BDDE99-7340-4E61-3A63-87B3340D064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7" t="12309" r="62076" b="-748"/>
          <a:stretch/>
        </p:blipFill>
        <p:spPr>
          <a:xfrm>
            <a:off x="0" y="0"/>
            <a:ext cx="2972479" cy="519588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1C492DE6-2F14-205C-4E3F-FBD7D003CB50}"/>
              </a:ext>
            </a:extLst>
          </p:cNvPr>
          <p:cNvSpPr/>
          <p:nvPr/>
        </p:nvSpPr>
        <p:spPr>
          <a:xfrm>
            <a:off x="3072668" y="2067361"/>
            <a:ext cx="5311573" cy="261221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3492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mmOmh9j0RvP2ELeceJ9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DxsMx9QEGZHNRyWSlc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DHL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D40511"/>
      </a:hlink>
      <a:folHlink>
        <a:srgbClr val="D40511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miter lim="800000"/>
            </a14:hiddenLine>
          </a:ext>
        </a:extLst>
      </a:spPr>
      <a:bodyPr lIns="72009" tIns="72009" rIns="72009" bIns="72009" rtlCol="0" anchor="t">
        <a:noAutofit/>
      </a:bodyPr>
      <a:lstStyle>
        <a:defPPr algn="l">
          <a:buClr>
            <a:schemeClr val="bg1"/>
          </a:buClr>
          <a:defRPr sz="1200" dirty="0" err="1" smtClean="0">
            <a:solidFill>
              <a:schemeClr val="bg1"/>
            </a:solidFill>
            <a:latin typeface="Delivery" panose="020F0503020204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TemplateAndMacros_122020_V02.potx" id="{DE86CD98-27D1-4DC7-9DD6-8035C84547EE}" vid="{7AF1C89A-3E7F-439A-B864-E8880D2D46E5}"/>
    </a:ext>
  </a:extLst>
</a:theme>
</file>

<file path=ppt/theme/theme3.xml><?xml version="1.0" encoding="utf-8"?>
<a:theme xmlns:a="http://schemas.openxmlformats.org/drawingml/2006/main" name="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  <a:extLs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miter lim="800000"/>
            </a14:hiddenLine>
          </a:ext>
        </a:extLst>
      </a:spPr>
      <a:bodyPr lIns="72009" tIns="72009" rIns="72009" bIns="72009" rtlCol="0" anchor="t">
        <a:noAutofit/>
      </a:bodyPr>
      <a:lstStyle>
        <a:defPPr algn="l">
          <a:buClr>
            <a:schemeClr val="bg1"/>
          </a:buClr>
          <a:defRPr sz="1200" dirty="0" err="1" smtClean="0">
            <a:solidFill>
              <a:schemeClr val="bg1"/>
            </a:solidFill>
            <a:latin typeface="Delivery" panose="020F0503020204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TemplateAndMacros_122020_V02.potx" id="{DE86CD98-27D1-4DC7-9DD6-8035C84547EE}" vid="{7AF1C89A-3E7F-439A-B864-E8880D2D46E5}"/>
    </a:ext>
  </a:extLst>
</a:theme>
</file>

<file path=ppt/theme/theme4.xml><?xml version="1.0" encoding="utf-8"?>
<a:theme xmlns:a="http://schemas.openxmlformats.org/drawingml/2006/main" name="1_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E485B0AA-FDA7-465A-B4F9-1C96F00663B2}" vid="{BA4EAE46-C68A-4354-BEDF-27A175FF7B7D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fa91467-c98c-4893-886b-04722e959ff5">
      <UserInfo>
        <DisplayName>Audrey REGIN (DHL FR)</DisplayName>
        <AccountId>15</AccountId>
        <AccountType/>
      </UserInfo>
      <UserInfo>
        <DisplayName>Christophe CEJUDO (DHL FR)</DisplayName>
        <AccountId>25</AccountId>
        <AccountType/>
      </UserInfo>
      <UserInfo>
        <DisplayName>Benjamin Leguay (DHL FR)</DisplayName>
        <AccountId>30</AccountId>
        <AccountType/>
      </UserInfo>
      <UserInfo>
        <DisplayName>DHL INFORMATION Members</DisplayName>
        <AccountId>8</AccountId>
        <AccountType/>
      </UserInfo>
      <UserInfo>
        <DisplayName>Quentin MACCARI (DHL FR)</DisplayName>
        <AccountId>234</AccountId>
        <AccountType/>
      </UserInfo>
    </SharedWithUsers>
    <lcf76f155ced4ddcb4097134ff3c332f xmlns="1b00d8b1-d83d-4a3e-be9d-b88785d4ff11">
      <Terms xmlns="http://schemas.microsoft.com/office/infopath/2007/PartnerControls"/>
    </lcf76f155ced4ddcb4097134ff3c332f>
    <TaxCatchAll xmlns="efa91467-c98c-4893-886b-04722e959ff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D3E704B5FF4947A02FE41063AC6759" ma:contentTypeVersion="14" ma:contentTypeDescription="Create a new document." ma:contentTypeScope="" ma:versionID="443efe841f15bae7d040a06e1de5c7db">
  <xsd:schema xmlns:xsd="http://www.w3.org/2001/XMLSchema" xmlns:xs="http://www.w3.org/2001/XMLSchema" xmlns:p="http://schemas.microsoft.com/office/2006/metadata/properties" xmlns:ns2="1b00d8b1-d83d-4a3e-be9d-b88785d4ff11" xmlns:ns3="efa91467-c98c-4893-886b-04722e959ff5" targetNamespace="http://schemas.microsoft.com/office/2006/metadata/properties" ma:root="true" ma:fieldsID="864083d35a53931fe620c300f30e1f41" ns2:_="" ns3:_="">
    <xsd:import namespace="1b00d8b1-d83d-4a3e-be9d-b88785d4ff11"/>
    <xsd:import namespace="efa91467-c98c-4893-886b-04722e959f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00d8b1-d83d-4a3e-be9d-b88785d4ff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bb9e2a73-f419-4c44-99f5-cd310bbfdd7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a91467-c98c-4893-886b-04722e959ff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739d4353-6fc9-4cdc-af77-8e63c85b9f75}" ma:internalName="TaxCatchAll" ma:showField="CatchAllData" ma:web="efa91467-c98c-4893-886b-04722e959f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4A9F50-5C2B-4285-A6B3-9611DF7FFCE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FB03EA-E834-4ABC-87C4-646C94E09DAB}">
  <ds:schemaRefs>
    <ds:schemaRef ds:uri="http://purl.org/dc/terms/"/>
    <ds:schemaRef ds:uri="http://schemas.openxmlformats.org/package/2006/metadata/core-properties"/>
    <ds:schemaRef ds:uri="e92ae8a9-27cd-417b-965d-c2a6b80c12e3"/>
    <ds:schemaRef ds:uri="http://schemas.microsoft.com/office/infopath/2007/PartnerControls"/>
    <ds:schemaRef ds:uri="http://schemas.microsoft.com/office/2006/documentManagement/types"/>
    <ds:schemaRef ds:uri="http://purl.org/dc/dcmitype/"/>
    <ds:schemaRef ds:uri="e9b45bab-910c-4ffe-acf2-c3411f9ae6c9"/>
    <ds:schemaRef ds:uri="http://schemas.microsoft.com/office/2006/metadata/properties"/>
    <ds:schemaRef ds:uri="http://www.w3.org/XML/1998/namespace"/>
    <ds:schemaRef ds:uri="http://purl.org/dc/elements/1.1/"/>
    <ds:schemaRef ds:uri="efa91467-c98c-4893-886b-04722e959ff5"/>
    <ds:schemaRef ds:uri="1b00d8b1-d83d-4a3e-be9d-b88785d4ff11"/>
  </ds:schemaRefs>
</ds:datastoreItem>
</file>

<file path=customXml/itemProps3.xml><?xml version="1.0" encoding="utf-8"?>
<ds:datastoreItem xmlns:ds="http://schemas.openxmlformats.org/officeDocument/2006/customXml" ds:itemID="{01E85C0F-7DF9-49ED-89EC-569E8FF2D32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b00d8b1-d83d-4a3e-be9d-b88785d4ff11"/>
    <ds:schemaRef ds:uri="efa91467-c98c-4893-886b-04722e959f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883</Words>
  <Application>Microsoft Office PowerPoint</Application>
  <PresentationFormat>Personnalisé</PresentationFormat>
  <Paragraphs>223</Paragraphs>
  <Slides>19</Slides>
  <Notes>7</Notes>
  <HiddenSlides>0</HiddenSlides>
  <MMClips>0</MMClips>
  <ScaleCrop>false</ScaleCrop>
  <HeadingPairs>
    <vt:vector size="4" baseType="variant">
      <vt:variant>
        <vt:lpstr>Thème</vt:lpstr>
      </vt:variant>
      <vt:variant>
        <vt:i4>4</vt:i4>
      </vt:variant>
      <vt:variant>
        <vt:lpstr>Titres des diapositives</vt:lpstr>
      </vt:variant>
      <vt:variant>
        <vt:i4>19</vt:i4>
      </vt:variant>
    </vt:vector>
  </HeadingPairs>
  <TitlesOfParts>
    <vt:vector size="23" baseType="lpstr">
      <vt:lpstr>Thème Office</vt:lpstr>
      <vt:lpstr>DHL</vt:lpstr>
      <vt:lpstr>DHL</vt:lpstr>
      <vt:lpstr>1_DH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Une solution qui présente de nombreux avantages </vt:lpstr>
      <vt:lpstr>Présentation PowerPoint</vt:lpstr>
      <vt:lpstr>Présentation PowerPoint</vt:lpstr>
      <vt:lpstr>Présentation PowerPoint</vt:lpstr>
      <vt:lpstr>Présentation PowerPoint</vt:lpstr>
      <vt:lpstr>Le groupe Deutsche Post DHL est un pionnier  de la logistique verte</vt:lpstr>
      <vt:lpstr>Opérations vertes pour la protection environnementale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hristelle</dc:creator>
  <cp:lastModifiedBy>Ines COURADE (DHL FR)</cp:lastModifiedBy>
  <cp:revision>43</cp:revision>
  <dcterms:created xsi:type="dcterms:W3CDTF">2022-01-05T07:47:22Z</dcterms:created>
  <dcterms:modified xsi:type="dcterms:W3CDTF">2023-09-05T16:0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AD3E704B5FF4947A02FE41063AC6759</vt:lpwstr>
  </property>
  <property fmtid="{D5CDD505-2E9C-101B-9397-08002B2CF9AE}" pid="3" name="MSIP_Label_48650eb9-7b8f-46d8-be44-f11f0c00e846_Enabled">
    <vt:lpwstr>true</vt:lpwstr>
  </property>
  <property fmtid="{D5CDD505-2E9C-101B-9397-08002B2CF9AE}" pid="4" name="MSIP_Label_48650eb9-7b8f-46d8-be44-f11f0c00e846_SetDate">
    <vt:lpwstr>2023-07-21T14:59:53Z</vt:lpwstr>
  </property>
  <property fmtid="{D5CDD505-2E9C-101B-9397-08002B2CF9AE}" pid="5" name="MSIP_Label_48650eb9-7b8f-46d8-be44-f11f0c00e846_Method">
    <vt:lpwstr>Privileged</vt:lpwstr>
  </property>
  <property fmtid="{D5CDD505-2E9C-101B-9397-08002B2CF9AE}" pid="6" name="MSIP_Label_48650eb9-7b8f-46d8-be44-f11f0c00e846_Name">
    <vt:lpwstr>Unclassified (Public)</vt:lpwstr>
  </property>
  <property fmtid="{D5CDD505-2E9C-101B-9397-08002B2CF9AE}" pid="7" name="MSIP_Label_48650eb9-7b8f-46d8-be44-f11f0c00e846_SiteId">
    <vt:lpwstr>cd99fef8-1cd3-4a2a-9bdf-15531181d65e</vt:lpwstr>
  </property>
  <property fmtid="{D5CDD505-2E9C-101B-9397-08002B2CF9AE}" pid="8" name="MSIP_Label_48650eb9-7b8f-46d8-be44-f11f0c00e846_ActionId">
    <vt:lpwstr>d05c5f8a-d027-411d-9717-c7ba1f3f33ea</vt:lpwstr>
  </property>
  <property fmtid="{D5CDD505-2E9C-101B-9397-08002B2CF9AE}" pid="9" name="MSIP_Label_48650eb9-7b8f-46d8-be44-f11f0c00e846_ContentBits">
    <vt:lpwstr>1</vt:lpwstr>
  </property>
  <property fmtid="{D5CDD505-2E9C-101B-9397-08002B2CF9AE}" pid="10" name="MediaServiceImageTags">
    <vt:lpwstr/>
  </property>
</Properties>
</file>